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41" r:id="rId2"/>
    <p:sldMasterId id="2147483774" r:id="rId3"/>
  </p:sldMasterIdLst>
  <p:notesMasterIdLst>
    <p:notesMasterId r:id="rId20"/>
  </p:notesMasterIdLst>
  <p:handoutMasterIdLst>
    <p:handoutMasterId r:id="rId21"/>
  </p:handoutMasterIdLst>
  <p:sldIdLst>
    <p:sldId id="912" r:id="rId4"/>
    <p:sldId id="814" r:id="rId5"/>
    <p:sldId id="952" r:id="rId6"/>
    <p:sldId id="944" r:id="rId7"/>
    <p:sldId id="833" r:id="rId8"/>
    <p:sldId id="934" r:id="rId9"/>
    <p:sldId id="945" r:id="rId10"/>
    <p:sldId id="946" r:id="rId11"/>
    <p:sldId id="947" r:id="rId12"/>
    <p:sldId id="948" r:id="rId13"/>
    <p:sldId id="949" r:id="rId14"/>
    <p:sldId id="874" r:id="rId15"/>
    <p:sldId id="950" r:id="rId16"/>
    <p:sldId id="941" r:id="rId17"/>
    <p:sldId id="951" r:id="rId18"/>
    <p:sldId id="943" r:id="rId19"/>
  </p:sldIdLst>
  <p:sldSz cx="12192000" cy="6858000"/>
  <p:notesSz cx="7010400" cy="92964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54D456B-166D-4B5C-8664-051BD77905E7}">
          <p14:sldIdLst/>
        </p14:section>
        <p14:section name="Presentation Title Slide" id="{2F9536F7-27D9-41C8-9114-73E2B6473555}">
          <p14:sldIdLst>
            <p14:sldId id="912"/>
          </p14:sldIdLst>
        </p14:section>
        <p14:section name="Introduction Slides" id="{1D5350F9-2862-4575-9C08-63B584969F49}">
          <p14:sldIdLst>
            <p14:sldId id="814"/>
            <p14:sldId id="952"/>
            <p14:sldId id="944"/>
            <p14:sldId id="833"/>
            <p14:sldId id="934"/>
            <p14:sldId id="945"/>
            <p14:sldId id="946"/>
            <p14:sldId id="947"/>
            <p14:sldId id="948"/>
            <p14:sldId id="949"/>
          </p14:sldIdLst>
        </p14:section>
        <p14:section name="Analysis Slides" id="{573075EE-2CFB-4492-A266-8BAA3B1B4B06}">
          <p14:sldIdLst>
            <p14:sldId id="874"/>
            <p14:sldId id="950"/>
            <p14:sldId id="941"/>
            <p14:sldId id="951"/>
            <p14:sldId id="943"/>
          </p14:sldIdLst>
        </p14:section>
        <p14:section name="Additional Slides Redone" id="{8B3EABDB-4C12-4A89-87ED-13C6B928FCD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anda Danaher" initials="AD" lastIdx="1" clrIdx="1">
    <p:extLst>
      <p:ext uri="{19B8F6BF-5375-455C-9EA6-DF929625EA0E}">
        <p15:presenceInfo xmlns:p15="http://schemas.microsoft.com/office/powerpoint/2012/main" userId="S-1-5-21-1648885481-1479830895-21948353-1750" providerId="AD"/>
      </p:ext>
    </p:extLst>
  </p:cmAuthor>
  <p:cmAuthor id="2" name="Dan Meister" initials="DM" lastIdx="53" clrIdx="2">
    <p:extLst>
      <p:ext uri="{19B8F6BF-5375-455C-9EA6-DF929625EA0E}">
        <p15:presenceInfo xmlns:p15="http://schemas.microsoft.com/office/powerpoint/2012/main" userId="S-1-5-21-1648885481-1479830895-21948353-22702" providerId="AD"/>
      </p:ext>
    </p:extLst>
  </p:cmAuthor>
  <p:cmAuthor id="3" name="Courtney McKeown" initials="CM" lastIdx="8" clrIdx="3">
    <p:extLst>
      <p:ext uri="{19B8F6BF-5375-455C-9EA6-DF929625EA0E}">
        <p15:presenceInfo xmlns:p15="http://schemas.microsoft.com/office/powerpoint/2012/main" userId="Courtney McKeown" providerId="None"/>
      </p:ext>
    </p:extLst>
  </p:cmAuthor>
  <p:cmAuthor id="4" name="Maddie Dugan" initials="MD" lastIdx="8" clrIdx="4">
    <p:extLst>
      <p:ext uri="{19B8F6BF-5375-455C-9EA6-DF929625EA0E}">
        <p15:presenceInfo xmlns:p15="http://schemas.microsoft.com/office/powerpoint/2012/main" userId="S-1-5-21-1648885481-1479830895-21948353-215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4A4D4F"/>
    <a:srgbClr val="FFFFFF"/>
    <a:srgbClr val="929292"/>
    <a:srgbClr val="636669"/>
    <a:srgbClr val="F0F0F0"/>
    <a:srgbClr val="00553F"/>
    <a:srgbClr val="511E42"/>
    <a:srgbClr val="511E43"/>
    <a:srgbClr val="E6B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61" autoAdjust="0"/>
    <p:restoredTop sz="86371" autoAdjust="0"/>
  </p:normalViewPr>
  <p:slideViewPr>
    <p:cSldViewPr snapToGrid="0" snapToObjects="1">
      <p:cViewPr varScale="1">
        <p:scale>
          <a:sx n="58" d="100"/>
          <a:sy n="58" d="100"/>
        </p:scale>
        <p:origin x="1056" y="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40"/>
    </p:cViewPr>
  </p:outlineViewPr>
  <p:notesTextViewPr>
    <p:cViewPr>
      <p:scale>
        <a:sx n="155" d="100"/>
        <a:sy n="155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>
      <p:cViewPr varScale="1">
        <p:scale>
          <a:sx n="159" d="100"/>
          <a:sy n="159" d="100"/>
        </p:scale>
        <p:origin x="4328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E587777-DA98-6C4D-B974-EADA7E27E5BD}" type="datetimeFigureOut">
              <a:rPr lang="en-US" smtClean="0"/>
              <a:t>9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E3ACAE0-118A-1049-8144-6E280CD14F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9554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46840DA-0096-C547-913E-CBDB8235A1F4}" type="datetimeFigureOut">
              <a:rPr lang="en-US" smtClean="0"/>
              <a:t>9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370404C-EF0D-4846-9A94-7E526F6FF2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2675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70404C-EF0D-4846-9A94-7E526F6FF26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593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70404C-EF0D-4846-9A94-7E526F6FF26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711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70404C-EF0D-4846-9A94-7E526F6FF26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363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70404C-EF0D-4846-9A94-7E526F6FF26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8060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70404C-EF0D-4846-9A94-7E526F6FF26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812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FD33D8-87EC-4C99-B6EF-1B54C1A4D1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584" y="3351125"/>
            <a:ext cx="10356826" cy="1144671"/>
          </a:xfrm>
        </p:spPr>
        <p:txBody>
          <a:bodyPr>
            <a:noAutofit/>
          </a:bodyPr>
          <a:lstStyle>
            <a:lvl1pPr algn="ctr">
              <a:defRPr sz="65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mpany name</a:t>
            </a:r>
          </a:p>
        </p:txBody>
      </p:sp>
      <p:sp>
        <p:nvSpPr>
          <p:cNvPr id="13" name="Title"/>
          <p:cNvSpPr>
            <a:spLocks noGrp="1"/>
          </p:cNvSpPr>
          <p:nvPr>
            <p:ph type="body" sz="quarter" idx="17" hasCustomPrompt="1"/>
          </p:nvPr>
        </p:nvSpPr>
        <p:spPr>
          <a:xfrm>
            <a:off x="917590" y="4495800"/>
            <a:ext cx="10356822" cy="1447800"/>
          </a:xfrm>
        </p:spPr>
        <p:txBody>
          <a:bodyPr/>
          <a:lstStyle>
            <a:lvl1pPr marL="0" indent="0" algn="ctr">
              <a:buFont typeface="Arial" charset="0"/>
              <a:buNone/>
              <a:defRPr sz="1000" b="0" cap="all" spc="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65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65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65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65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073801-11A7-454F-9AE8-88356F6F0B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50786" y="685800"/>
            <a:ext cx="3291840" cy="2000439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(Pre-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/>
          <p:cNvSpPr>
            <a:spLocks noGrp="1"/>
          </p:cNvSpPr>
          <p:nvPr>
            <p:ph type="title" hasCustomPrompt="1"/>
          </p:nvPr>
        </p:nvSpPr>
        <p:spPr>
          <a:xfrm>
            <a:off x="917585" y="1520795"/>
            <a:ext cx="10356825" cy="996068"/>
          </a:xfrm>
          <a:prstGeom prst="rect">
            <a:avLst/>
          </a:prstGeom>
        </p:spPr>
        <p:txBody>
          <a:bodyPr/>
          <a:lstStyle>
            <a:lvl1pPr defTabSz="283464"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6" name="Content Placeholder"/>
          <p:cNvSpPr>
            <a:spLocks noGrp="1"/>
          </p:cNvSpPr>
          <p:nvPr>
            <p:ph type="body" sz="quarter" idx="19" hasCustomPrompt="1"/>
          </p:nvPr>
        </p:nvSpPr>
        <p:spPr>
          <a:xfrm>
            <a:off x="917584" y="2569185"/>
            <a:ext cx="10356826" cy="3374415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="0" baseline="0">
                <a:solidFill>
                  <a:schemeClr val="tx1"/>
                </a:solidFill>
              </a:defRPr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D1C073D1-3177-6C4C-BDA7-03B7B7DCD584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ubtitle"/>
          <p:cNvSpPr>
            <a:spLocks noGrp="1"/>
          </p:cNvSpPr>
          <p:nvPr>
            <p:ph type="body" sz="quarter" idx="26" hasCustomPrompt="1"/>
          </p:nvPr>
        </p:nvSpPr>
        <p:spPr>
          <a:xfrm>
            <a:off x="917584" y="1142039"/>
            <a:ext cx="10356826" cy="252867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 marL="914400" indent="0">
              <a:buNone/>
              <a:defRPr>
                <a:solidFill>
                  <a:schemeClr val="accent1"/>
                </a:solidFill>
              </a:defRPr>
            </a:lvl3pPr>
            <a:lvl4pPr marL="1371600" indent="0">
              <a:buNone/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Pre-Title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type="body" sz="quarter" idx="21" hasCustomPrompt="1"/>
          </p:nvPr>
        </p:nvSpPr>
        <p:spPr>
          <a:xfrm>
            <a:off x="917584" y="2189260"/>
            <a:ext cx="4949817" cy="3754638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324595" y="2189260"/>
            <a:ext cx="4949817" cy="3754638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18" name="Title"/>
          <p:cNvSpPr>
            <a:spLocks noGrp="1"/>
          </p:cNvSpPr>
          <p:nvPr>
            <p:ph type="title" hasCustomPrompt="1"/>
          </p:nvPr>
        </p:nvSpPr>
        <p:spPr>
          <a:xfrm>
            <a:off x="917585" y="1143298"/>
            <a:ext cx="10356825" cy="993320"/>
          </a:xfrm>
          <a:prstGeom prst="rect">
            <a:avLst/>
          </a:prstGeom>
        </p:spPr>
        <p:txBody>
          <a:bodyPr/>
          <a:lstStyle>
            <a:lvl1pPr defTabSz="283464"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392ACD0-D467-5743-9019-99A153FFDDDC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(Pre-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type="body" sz="quarter" idx="21" hasCustomPrompt="1"/>
          </p:nvPr>
        </p:nvSpPr>
        <p:spPr>
          <a:xfrm>
            <a:off x="917584" y="2569184"/>
            <a:ext cx="4949817" cy="3374713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324595" y="2569184"/>
            <a:ext cx="4949817" cy="3374713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12" name="Title"/>
          <p:cNvSpPr>
            <a:spLocks noGrp="1"/>
          </p:cNvSpPr>
          <p:nvPr>
            <p:ph type="title" hasCustomPrompt="1"/>
          </p:nvPr>
        </p:nvSpPr>
        <p:spPr>
          <a:xfrm>
            <a:off x="917585" y="1520795"/>
            <a:ext cx="10356825" cy="996696"/>
          </a:xfrm>
          <a:prstGeom prst="rect">
            <a:avLst/>
          </a:prstGeom>
        </p:spPr>
        <p:txBody>
          <a:bodyPr/>
          <a:lstStyle>
            <a:lvl1pPr defTabSz="283464"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BA3758F-66BC-4A41-8AD2-A6EAC2516855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ubtitle"/>
          <p:cNvSpPr>
            <a:spLocks noGrp="1"/>
          </p:cNvSpPr>
          <p:nvPr>
            <p:ph type="body" sz="quarter" idx="26" hasCustomPrompt="1"/>
          </p:nvPr>
        </p:nvSpPr>
        <p:spPr>
          <a:xfrm>
            <a:off x="917584" y="1142039"/>
            <a:ext cx="10356826" cy="252867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 marL="914400" indent="0">
              <a:buNone/>
              <a:defRPr>
                <a:solidFill>
                  <a:schemeClr val="accent1"/>
                </a:solidFill>
              </a:defRPr>
            </a:lvl3pPr>
            <a:lvl4pPr marL="1371600" indent="0">
              <a:buNone/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Pre-Titl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917584" y="2189260"/>
            <a:ext cx="3145536" cy="3754638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18" name="Title"/>
          <p:cNvSpPr>
            <a:spLocks noGrp="1"/>
          </p:cNvSpPr>
          <p:nvPr>
            <p:ph type="title" hasCustomPrompt="1"/>
          </p:nvPr>
        </p:nvSpPr>
        <p:spPr>
          <a:xfrm>
            <a:off x="917585" y="1143298"/>
            <a:ext cx="10356825" cy="996696"/>
          </a:xfrm>
          <a:prstGeom prst="rect">
            <a:avLst/>
          </a:prstGeom>
        </p:spPr>
        <p:txBody>
          <a:bodyPr/>
          <a:lstStyle>
            <a:lvl1pPr defTabSz="283464"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type="body" sz="quarter" idx="22" hasCustomPrompt="1"/>
          </p:nvPr>
        </p:nvSpPr>
        <p:spPr>
          <a:xfrm flipH="1">
            <a:off x="4523232" y="2189260"/>
            <a:ext cx="3145536" cy="3754638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type="body" sz="quarter" idx="23" hasCustomPrompt="1"/>
          </p:nvPr>
        </p:nvSpPr>
        <p:spPr>
          <a:xfrm flipH="1">
            <a:off x="8128874" y="2189260"/>
            <a:ext cx="3145536" cy="3754638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581D0E2C-ABD6-D348-B8E6-AABB1B0B0885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(Pre-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type="body" sz="quarter" idx="21" hasCustomPrompt="1"/>
          </p:nvPr>
        </p:nvSpPr>
        <p:spPr>
          <a:xfrm flipH="1">
            <a:off x="917584" y="2569184"/>
            <a:ext cx="3145536" cy="3374714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type="body" sz="quarter" idx="22" hasCustomPrompt="1"/>
          </p:nvPr>
        </p:nvSpPr>
        <p:spPr>
          <a:xfrm flipH="1">
            <a:off x="4523232" y="2569184"/>
            <a:ext cx="3145536" cy="3374714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type="body" sz="quarter" idx="23" hasCustomPrompt="1"/>
          </p:nvPr>
        </p:nvSpPr>
        <p:spPr>
          <a:xfrm flipH="1">
            <a:off x="8128874" y="2569184"/>
            <a:ext cx="3145536" cy="3374714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24" name="Title"/>
          <p:cNvSpPr>
            <a:spLocks noGrp="1"/>
          </p:cNvSpPr>
          <p:nvPr>
            <p:ph type="title" hasCustomPrompt="1"/>
          </p:nvPr>
        </p:nvSpPr>
        <p:spPr>
          <a:xfrm>
            <a:off x="917585" y="1520794"/>
            <a:ext cx="10356825" cy="996696"/>
          </a:xfrm>
          <a:prstGeom prst="rect">
            <a:avLst/>
          </a:prstGeom>
        </p:spPr>
        <p:txBody>
          <a:bodyPr/>
          <a:lstStyle>
            <a:lvl1pPr defTabSz="283464"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13D0638B-A44F-6D46-BC80-8194E7D81610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ub-title"/>
          <p:cNvSpPr>
            <a:spLocks noGrp="1"/>
          </p:cNvSpPr>
          <p:nvPr>
            <p:ph type="body" sz="quarter" idx="27" hasCustomPrompt="1"/>
          </p:nvPr>
        </p:nvSpPr>
        <p:spPr>
          <a:xfrm>
            <a:off x="917584" y="1142039"/>
            <a:ext cx="10356826" cy="252867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 marL="914400" indent="0">
              <a:buNone/>
              <a:defRPr>
                <a:solidFill>
                  <a:schemeClr val="accent1"/>
                </a:solidFill>
              </a:defRPr>
            </a:lvl3pPr>
            <a:lvl4pPr marL="1371600" indent="0">
              <a:buNone/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Pre-Titl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ontent Placeholder"/>
          <p:cNvSpPr>
            <a:spLocks noGrp="1"/>
          </p:cNvSpPr>
          <p:nvPr>
            <p:ph type="body" sz="quarter" idx="21" hasCustomPrompt="1"/>
          </p:nvPr>
        </p:nvSpPr>
        <p:spPr>
          <a:xfrm>
            <a:off x="917585" y="2189260"/>
            <a:ext cx="4266924" cy="3754638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7010400" y="1143298"/>
            <a:ext cx="4264012" cy="4800600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25" name="Title"/>
          <p:cNvSpPr>
            <a:spLocks noGrp="1"/>
          </p:cNvSpPr>
          <p:nvPr>
            <p:ph type="title" hasCustomPrompt="1"/>
          </p:nvPr>
        </p:nvSpPr>
        <p:spPr>
          <a:xfrm>
            <a:off x="917586" y="1143298"/>
            <a:ext cx="4266924" cy="996696"/>
          </a:xfrm>
          <a:prstGeom prst="rect">
            <a:avLst/>
          </a:prstGeom>
        </p:spPr>
        <p:txBody>
          <a:bodyPr/>
          <a:lstStyle>
            <a:lvl1pPr defTabSz="283464"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9B20ED77-314A-DC4F-B391-E1F370B547B1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Column (Pre-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ontent Placeholder"/>
          <p:cNvSpPr>
            <a:spLocks noGrp="1"/>
          </p:cNvSpPr>
          <p:nvPr>
            <p:ph type="body" sz="quarter" idx="21" hasCustomPrompt="1"/>
          </p:nvPr>
        </p:nvSpPr>
        <p:spPr>
          <a:xfrm>
            <a:off x="917585" y="2569184"/>
            <a:ext cx="4266924" cy="3374714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7010400" y="1143298"/>
            <a:ext cx="4264012" cy="4800600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17" name="Title"/>
          <p:cNvSpPr>
            <a:spLocks noGrp="1"/>
          </p:cNvSpPr>
          <p:nvPr>
            <p:ph type="title" hasCustomPrompt="1"/>
          </p:nvPr>
        </p:nvSpPr>
        <p:spPr>
          <a:xfrm>
            <a:off x="917585" y="1520794"/>
            <a:ext cx="4266923" cy="996696"/>
          </a:xfrm>
          <a:prstGeom prst="rect">
            <a:avLst/>
          </a:prstGeom>
        </p:spPr>
        <p:txBody>
          <a:bodyPr/>
          <a:lstStyle>
            <a:lvl1pPr defTabSz="283464"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E887C8D2-C0B8-B344-95E2-69593A7CEDC7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Sub-title"/>
          <p:cNvSpPr>
            <a:spLocks noGrp="1"/>
          </p:cNvSpPr>
          <p:nvPr>
            <p:ph type="body" sz="quarter" idx="26" hasCustomPrompt="1"/>
          </p:nvPr>
        </p:nvSpPr>
        <p:spPr>
          <a:xfrm>
            <a:off x="917584" y="1142039"/>
            <a:ext cx="4266924" cy="252867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 marL="914400" indent="0">
              <a:buNone/>
              <a:defRPr>
                <a:solidFill>
                  <a:schemeClr val="accent1"/>
                </a:solidFill>
              </a:defRPr>
            </a:lvl3pPr>
            <a:lvl4pPr marL="1371600" indent="0">
              <a:buNone/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Pre-Title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">
            <a:extLst>
              <a:ext uri="{FF2B5EF4-FFF2-40B4-BE49-F238E27FC236}">
                <a16:creationId xmlns:a16="http://schemas.microsoft.com/office/drawing/2014/main" id="{9299E630-2921-B646-9634-03A3042E6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4AAEA82-0FBB-1E47-AE49-23CC88F744F6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551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(Light 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917588" y="1141671"/>
            <a:ext cx="10356825" cy="48019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283464">
              <a:lnSpc>
                <a:spcPct val="100000"/>
              </a:lnSpc>
              <a:spcBef>
                <a:spcPts val="0"/>
              </a:spcBef>
              <a:buFontTx/>
              <a:buNone/>
              <a:defRPr sz="65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ighligh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708856-BF97-1D4D-8597-1D92FF3E17FF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F70B3A-C3A4-E944-8199-3C564463D6FB}"/>
              </a:ext>
            </a:extLst>
          </p:cNvPr>
          <p:cNvSpPr/>
          <p:nvPr userDrawn="1"/>
        </p:nvSpPr>
        <p:spPr>
          <a:xfrm>
            <a:off x="0" y="0"/>
            <a:ext cx="2742546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41B573B-B6B7-D540-BAB1-D47874E69D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185945"/>
            <a:ext cx="1911096" cy="19961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(Green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917588" y="1141671"/>
            <a:ext cx="10356825" cy="48019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283464">
              <a:lnSpc>
                <a:spcPct val="100000"/>
              </a:lnSpc>
              <a:spcBef>
                <a:spcPts val="0"/>
              </a:spcBef>
              <a:buFontTx/>
              <a:buNone/>
              <a:defRPr sz="65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ighligh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59B96F-7CAC-6044-8ECE-444585A44E95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6C1796-F381-934F-AC55-AFFCBD26CE11}"/>
              </a:ext>
            </a:extLst>
          </p:cNvPr>
          <p:cNvSpPr/>
          <p:nvPr userDrawn="1"/>
        </p:nvSpPr>
        <p:spPr>
          <a:xfrm>
            <a:off x="0" y="0"/>
            <a:ext cx="2742546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AF35956-F96B-F74A-B59F-CE16BFD91B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185945"/>
            <a:ext cx="1911096" cy="19961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v.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917589" y="4495799"/>
            <a:ext cx="10356823" cy="1447799"/>
          </a:xfrm>
        </p:spPr>
        <p:txBody>
          <a:bodyPr/>
          <a:lstStyle>
            <a:lvl1pPr marL="0" indent="0" algn="ctr">
              <a:buNone/>
              <a:defRPr sz="1000" spc="600">
                <a:solidFill>
                  <a:schemeClr val="bg1"/>
                </a:solidFill>
              </a:defRPr>
            </a:lvl1pPr>
            <a:lvl2pPr marL="457200" indent="0">
              <a:buNone/>
              <a:defRPr sz="1000" spc="600">
                <a:solidFill>
                  <a:schemeClr val="bg1"/>
                </a:solidFill>
              </a:defRPr>
            </a:lvl2pPr>
            <a:lvl3pPr marL="914400" indent="0">
              <a:buNone/>
              <a:defRPr sz="1000" spc="600">
                <a:solidFill>
                  <a:schemeClr val="bg1"/>
                </a:solidFill>
              </a:defRPr>
            </a:lvl3pPr>
            <a:lvl4pPr marL="1371600" indent="0">
              <a:buNone/>
              <a:defRPr sz="1000" spc="600">
                <a:solidFill>
                  <a:schemeClr val="bg1"/>
                </a:solidFill>
              </a:defRPr>
            </a:lvl4pPr>
            <a:lvl5pPr marL="1828800" indent="0">
              <a:buNone/>
              <a:defRPr sz="1000" spc="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0007AB-64AF-DE40-B65A-DFE561E064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67200" y="1378703"/>
            <a:ext cx="3657600" cy="383856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(Yellow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917588" y="1141671"/>
            <a:ext cx="10356825" cy="48019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283464">
              <a:lnSpc>
                <a:spcPct val="100000"/>
              </a:lnSpc>
              <a:spcBef>
                <a:spcPts val="0"/>
              </a:spcBef>
              <a:buFontTx/>
              <a:buNone/>
              <a:defRPr sz="65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ighligh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7BA1B5-6CBB-424A-B1E2-73C593376DC4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BE0DCA-022C-2E43-98AE-A1D0EC339486}"/>
              </a:ext>
            </a:extLst>
          </p:cNvPr>
          <p:cNvSpPr/>
          <p:nvPr userDrawn="1"/>
        </p:nvSpPr>
        <p:spPr>
          <a:xfrm>
            <a:off x="0" y="0"/>
            <a:ext cx="2742546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38EA0B-769F-B943-83D5-B5F71FB79A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185945"/>
            <a:ext cx="1911096" cy="19961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(Orange)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917588" y="1141671"/>
            <a:ext cx="10356825" cy="48019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283464">
              <a:lnSpc>
                <a:spcPct val="100000"/>
              </a:lnSpc>
              <a:spcBef>
                <a:spcPts val="0"/>
              </a:spcBef>
              <a:buFontTx/>
              <a:buNone/>
              <a:defRPr sz="65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ighligh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95C10F-F020-524C-A453-ABD1C3BE83D2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A686D3-E153-E849-ADD5-F97A32F49625}"/>
              </a:ext>
            </a:extLst>
          </p:cNvPr>
          <p:cNvSpPr/>
          <p:nvPr userDrawn="1"/>
        </p:nvSpPr>
        <p:spPr>
          <a:xfrm>
            <a:off x="0" y="0"/>
            <a:ext cx="2742546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7D46626-F366-1348-A7F2-F1804B6CC9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185945"/>
            <a:ext cx="1911096" cy="19961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(Pink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917588" y="1141671"/>
            <a:ext cx="10356825" cy="48019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283464">
              <a:lnSpc>
                <a:spcPct val="100000"/>
              </a:lnSpc>
              <a:spcBef>
                <a:spcPts val="0"/>
              </a:spcBef>
              <a:buFontTx/>
              <a:buNone/>
              <a:defRPr sz="65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ighligh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C48E3E-EDDA-ED4D-B775-D1EF84F43DCB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40BCF69-08E7-FA44-9939-4EAA188AB86F}"/>
              </a:ext>
            </a:extLst>
          </p:cNvPr>
          <p:cNvSpPr/>
          <p:nvPr userDrawn="1"/>
        </p:nvSpPr>
        <p:spPr>
          <a:xfrm>
            <a:off x="0" y="0"/>
            <a:ext cx="2742546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6FFE403-B330-2446-B88C-B6E05C6560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185945"/>
            <a:ext cx="1911096" cy="19961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(Purple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917588" y="1141671"/>
            <a:ext cx="10356825" cy="480192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283464">
              <a:lnSpc>
                <a:spcPct val="100000"/>
              </a:lnSpc>
              <a:spcBef>
                <a:spcPts val="0"/>
              </a:spcBef>
              <a:buFontTx/>
              <a:buNone/>
              <a:defRPr sz="65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ighligh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BEFED9-59BA-5244-883F-384948D823B5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028CFD-1C7A-AB4A-81DD-A96D6EEB764F}"/>
              </a:ext>
            </a:extLst>
          </p:cNvPr>
          <p:cNvSpPr/>
          <p:nvPr userDrawn="1"/>
        </p:nvSpPr>
        <p:spPr>
          <a:xfrm>
            <a:off x="0" y="0"/>
            <a:ext cx="2742546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B750E2-1414-AA47-A80B-89083A3B11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185945"/>
            <a:ext cx="1911096" cy="19961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"/>
          <p:cNvSpPr>
            <a:spLocks noGrp="1"/>
          </p:cNvSpPr>
          <p:nvPr>
            <p:ph type="body" sz="quarter" idx="18" hasCustomPrompt="1"/>
          </p:nvPr>
        </p:nvSpPr>
        <p:spPr>
          <a:xfrm>
            <a:off x="917589" y="5505060"/>
            <a:ext cx="10356823" cy="438539"/>
          </a:xfrm>
        </p:spPr>
        <p:txBody>
          <a:bodyPr anchor="b"/>
          <a:lstStyle>
            <a:lvl1pPr marL="0" indent="0" algn="ctr">
              <a:buNone/>
              <a:defRPr sz="1100" spc="0">
                <a:solidFill>
                  <a:schemeClr val="tx1"/>
                </a:solidFill>
              </a:defRPr>
            </a:lvl1pPr>
            <a:lvl2pPr marL="457200" indent="0">
              <a:buNone/>
              <a:defRPr sz="1100" spc="0">
                <a:solidFill>
                  <a:schemeClr val="bg1"/>
                </a:solidFill>
              </a:defRPr>
            </a:lvl2pPr>
            <a:lvl3pPr marL="914400" indent="0">
              <a:buNone/>
              <a:defRPr sz="1100" spc="0">
                <a:solidFill>
                  <a:schemeClr val="bg1"/>
                </a:solidFill>
              </a:defRPr>
            </a:lvl3pPr>
            <a:lvl4pPr marL="1371600" indent="0">
              <a:buNone/>
              <a:defRPr sz="1100" spc="0">
                <a:solidFill>
                  <a:schemeClr val="bg1"/>
                </a:solidFill>
              </a:defRPr>
            </a:lvl4pPr>
            <a:lvl5pPr marL="1828800" indent="0">
              <a:buNone/>
              <a:defRPr sz="1100" spc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ntact Inform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D4DA4B-A258-DC43-B63A-11C2AE7947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98344" y="1669744"/>
            <a:ext cx="5795312" cy="3518513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C1F85F-8179-834C-9D61-FF0A2076C1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584" y="2986675"/>
            <a:ext cx="10356826" cy="1099293"/>
          </a:xfrm>
        </p:spPr>
        <p:txBody>
          <a:bodyPr/>
          <a:lstStyle>
            <a:lvl1pPr algn="ctr">
              <a:defRPr sz="5500"/>
            </a:lvl1pPr>
          </a:lstStyle>
          <a:p>
            <a:r>
              <a:rPr lang="en-US" dirty="0"/>
              <a:t>building your digital mindset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B70D26C-1525-9048-95AE-EEF6E00FFB4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17584" y="4366054"/>
            <a:ext cx="10356826" cy="1052084"/>
          </a:xfrm>
        </p:spPr>
        <p:txBody>
          <a:bodyPr/>
          <a:lstStyle>
            <a:lvl1pPr marL="0" indent="0" algn="ctr">
              <a:buNone/>
              <a:defRPr sz="1600" b="0" i="0">
                <a:latin typeface="Libre Franklin Light" pitchFamily="2" charset="77"/>
              </a:defRPr>
            </a:lvl1pPr>
            <a:lvl2pPr marL="457200" indent="0">
              <a:buNone/>
              <a:defRPr sz="2000" b="0" i="0">
                <a:latin typeface="Libre Franklin Light" pitchFamily="2" charset="77"/>
              </a:defRPr>
            </a:lvl2pPr>
            <a:lvl3pPr marL="914400" indent="0">
              <a:buNone/>
              <a:defRPr sz="2000" b="0" i="0">
                <a:latin typeface="Libre Franklin Light" pitchFamily="2" charset="77"/>
              </a:defRPr>
            </a:lvl3pPr>
            <a:lvl4pPr marL="1371600" indent="0">
              <a:buNone/>
              <a:defRPr sz="2000" b="0" i="0">
                <a:latin typeface="Libre Franklin Light" pitchFamily="2" charset="77"/>
              </a:defRPr>
            </a:lvl4pPr>
            <a:lvl5pPr marL="1828800" indent="0">
              <a:buNone/>
              <a:defRPr sz="2000" b="0" i="0">
                <a:latin typeface="Libre Franklin Light" pitchFamily="2" charset="77"/>
              </a:defRPr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6765834-5CD6-404F-B4E5-158D52E2671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48962" y="5599727"/>
            <a:ext cx="5638800" cy="792994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d By</a:t>
            </a:r>
          </a:p>
          <a:p>
            <a:pPr lvl="0"/>
            <a:r>
              <a:rPr lang="en-US" dirty="0"/>
              <a:t>Strategist Name, </a:t>
            </a:r>
            <a:r>
              <a:rPr lang="en-US" dirty="0" err="1"/>
              <a:t>Americaneagle.com</a:t>
            </a:r>
            <a:endParaRPr lang="en-US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9E5AFAF8-945F-CA4D-A7A7-B70270E98CD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17587" y="2463900"/>
            <a:ext cx="10356826" cy="235751"/>
          </a:xfrm>
        </p:spPr>
        <p:txBody>
          <a:bodyPr/>
          <a:lstStyle>
            <a:lvl1pPr marL="0" indent="0" algn="ctr">
              <a:buNone/>
              <a:defRPr sz="1000" b="1" i="0" kern="0" spc="800" baseline="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 sz="2000" b="0" i="0">
                <a:latin typeface="Libre Franklin Light" pitchFamily="2" charset="77"/>
              </a:defRPr>
            </a:lvl2pPr>
            <a:lvl3pPr marL="914400" indent="0">
              <a:buNone/>
              <a:defRPr sz="2000" b="0" i="0">
                <a:latin typeface="Libre Franklin Light" pitchFamily="2" charset="77"/>
              </a:defRPr>
            </a:lvl3pPr>
            <a:lvl4pPr marL="1371600" indent="0">
              <a:buNone/>
              <a:defRPr sz="2000" b="0" i="0">
                <a:latin typeface="Libre Franklin Light" pitchFamily="2" charset="77"/>
              </a:defRPr>
            </a:lvl4pPr>
            <a:lvl5pPr marL="1828800" indent="0">
              <a:buNone/>
              <a:defRPr sz="2000" b="0" i="0">
                <a:latin typeface="Libre Franklin Light" pitchFamily="2" charset="77"/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C9EFE8-4761-714E-AA10-82E497B47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345" y="683279"/>
            <a:ext cx="3420775" cy="717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5206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2ECD9F4-CB0E-3744-AD19-A6ACE06A75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9B1A24-3658-FA4C-88DE-60B4F63BB2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583" y="2150075"/>
            <a:ext cx="3160147" cy="3756455"/>
          </a:xfrm>
        </p:spPr>
        <p:txBody>
          <a:bodyPr/>
          <a:lstStyle>
            <a:lvl1pPr algn="r">
              <a:defRPr sz="5500"/>
            </a:lvl1pPr>
          </a:lstStyle>
          <a:p>
            <a:r>
              <a:rPr lang="en-US" dirty="0"/>
              <a:t>Why</a:t>
            </a:r>
            <a:br>
              <a:rPr lang="en-US" dirty="0"/>
            </a:br>
            <a:r>
              <a:rPr lang="en-US" dirty="0"/>
              <a:t>are we</a:t>
            </a:r>
            <a:br>
              <a:rPr lang="en-US" dirty="0"/>
            </a:br>
            <a:r>
              <a:rPr lang="en-US" dirty="0"/>
              <a:t>he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7F3C96F-03FA-D64B-8264-D6CEB76A0C2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975654" y="1400433"/>
            <a:ext cx="6298755" cy="4506098"/>
          </a:xfrm>
        </p:spPr>
        <p:txBody>
          <a:bodyPr numCol="2" spcCol="1554480"/>
          <a:lstStyle>
            <a:lvl1pPr marL="0" indent="0">
              <a:buNone/>
              <a:defRPr sz="1700">
                <a:solidFill>
                  <a:schemeClr val="bg2"/>
                </a:solidFill>
              </a:defRPr>
            </a:lvl1pPr>
            <a:lvl2pPr marL="457200" indent="0">
              <a:buNone/>
              <a:defRPr sz="1700">
                <a:solidFill>
                  <a:schemeClr val="bg2"/>
                </a:solidFill>
              </a:defRPr>
            </a:lvl2pPr>
            <a:lvl3pPr marL="914400" indent="0">
              <a:buNone/>
              <a:defRPr sz="1700">
                <a:solidFill>
                  <a:schemeClr val="bg2"/>
                </a:solidFill>
              </a:defRPr>
            </a:lvl3pPr>
            <a:lvl4pPr marL="1371600" indent="0">
              <a:buNone/>
              <a:defRPr sz="1700">
                <a:solidFill>
                  <a:schemeClr val="bg2"/>
                </a:solidFill>
              </a:defRPr>
            </a:lvl4pPr>
            <a:lvl5pPr marL="1828800" indent="0">
              <a:buNone/>
              <a:defRPr sz="1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Sub-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23AD88-375D-4349-9EAF-228DA6CD98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457" y="278304"/>
            <a:ext cx="585135" cy="41953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4A05842-92E7-4549-8224-E18B8AA7C4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9720" y="6337232"/>
            <a:ext cx="1416489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6870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68C87B5C-9897-D44E-B3DC-8A8AE497E1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83955B-675D-204A-9F5D-DC2A38438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1568" y="939114"/>
            <a:ext cx="8102841" cy="2434642"/>
          </a:xfrm>
        </p:spPr>
        <p:txBody>
          <a:bodyPr wrap="square" anchor="b"/>
          <a:lstStyle>
            <a:lvl1pPr algn="l">
              <a:lnSpc>
                <a:spcPct val="100000"/>
              </a:lnSpc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800EF64-E956-ED40-B7D7-74CC0CB23D9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171567" y="3658057"/>
            <a:ext cx="8102842" cy="1769328"/>
          </a:xfrm>
        </p:spPr>
        <p:txBody>
          <a:bodyPr/>
          <a:lstStyle>
            <a:lvl1pPr marL="0" indent="0" algn="l">
              <a:buNone/>
              <a:defRPr sz="1800" b="0" i="0">
                <a:solidFill>
                  <a:schemeClr val="bg1"/>
                </a:solidFill>
                <a:latin typeface="Libre Franklin Light" pitchFamily="2" charset="77"/>
              </a:defRPr>
            </a:lvl1pPr>
            <a:lvl2pPr marL="457200" indent="0">
              <a:buNone/>
              <a:defRPr sz="2000" b="0" i="0">
                <a:solidFill>
                  <a:schemeClr val="bg1"/>
                </a:solidFill>
                <a:latin typeface="Libre Franklin Light" pitchFamily="2" charset="77"/>
              </a:defRPr>
            </a:lvl2pPr>
            <a:lvl3pPr marL="914400" indent="0">
              <a:buNone/>
              <a:defRPr sz="2000" b="0" i="0">
                <a:solidFill>
                  <a:schemeClr val="bg1"/>
                </a:solidFill>
                <a:latin typeface="Libre Franklin Light" pitchFamily="2" charset="77"/>
              </a:defRPr>
            </a:lvl3pPr>
            <a:lvl4pPr marL="1371600" indent="0">
              <a:buNone/>
              <a:defRPr sz="2000" b="0" i="0">
                <a:solidFill>
                  <a:schemeClr val="bg1"/>
                </a:solidFill>
                <a:latin typeface="Libre Franklin Light" pitchFamily="2" charset="77"/>
              </a:defRPr>
            </a:lvl4pPr>
            <a:lvl5pPr marL="1828800" indent="0">
              <a:buNone/>
              <a:defRPr sz="2000" b="0" i="0">
                <a:solidFill>
                  <a:schemeClr val="bg1"/>
                </a:solidFill>
                <a:latin typeface="Libre Franklin Light" pitchFamily="2" charset="77"/>
              </a:defRPr>
            </a:lvl5pPr>
          </a:lstStyle>
          <a:p>
            <a:pPr lvl="0"/>
            <a:r>
              <a:rPr lang="en-US" dirty="0"/>
              <a:t>Section Sub-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61F491-9782-C54F-B9D9-8E5C896BB7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457" y="278304"/>
            <a:ext cx="585135" cy="41953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AABD4C0-08D6-954D-9B06-E7E62480ECD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9720" y="6337232"/>
            <a:ext cx="1416488" cy="14630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75F8D23-0C4A-574D-A50D-8861151AB3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079" y="2318121"/>
            <a:ext cx="1372497" cy="1065236"/>
          </a:xfrm>
        </p:spPr>
        <p:txBody>
          <a:bodyPr anchor="b"/>
          <a:lstStyle>
            <a:lvl1pPr marL="0" indent="0" algn="r">
              <a:buNone/>
              <a:defRPr sz="5500" b="1">
                <a:solidFill>
                  <a:schemeClr val="bg1"/>
                </a:solidFill>
              </a:defRPr>
            </a:lvl1pPr>
            <a:lvl2pPr marL="457200" indent="0">
              <a:buNone/>
              <a:defRPr sz="5500" b="1">
                <a:solidFill>
                  <a:schemeClr val="bg1"/>
                </a:solidFill>
              </a:defRPr>
            </a:lvl2pPr>
            <a:lvl3pPr marL="914400" indent="0">
              <a:buNone/>
              <a:defRPr sz="5500" b="1">
                <a:solidFill>
                  <a:schemeClr val="bg1"/>
                </a:solidFill>
              </a:defRPr>
            </a:lvl3pPr>
            <a:lvl4pPr marL="1371600" indent="0">
              <a:buNone/>
              <a:defRPr sz="5500" b="1">
                <a:solidFill>
                  <a:schemeClr val="bg1"/>
                </a:solidFill>
              </a:defRPr>
            </a:lvl4pPr>
            <a:lvl5pPr marL="1828800" indent="0">
              <a:buNone/>
              <a:defRPr sz="5500" b="1">
                <a:solidFill>
                  <a:schemeClr val="bg1"/>
                </a:solidFill>
              </a:defRPr>
            </a:lvl5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1357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CE281AD-3D97-3F4D-B460-4813B2340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7457" y="278304"/>
            <a:ext cx="585135" cy="41953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FD4F2AD-2323-FC45-8E10-761267EAD8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9720" y="6337232"/>
            <a:ext cx="1416489" cy="146304"/>
          </a:xfrm>
          <a:prstGeom prst="rect">
            <a:avLst/>
          </a:prstGeom>
        </p:spPr>
      </p:pic>
      <p:sp>
        <p:nvSpPr>
          <p:cNvPr id="28" name="Title 27">
            <a:extLst>
              <a:ext uri="{FF2B5EF4-FFF2-40B4-BE49-F238E27FC236}">
                <a16:creationId xmlns:a16="http://schemas.microsoft.com/office/drawing/2014/main" id="{A60B22D3-72B9-D541-913A-A209FBAD9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CDB277D-0B2E-914D-B538-453CB9D51B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7584" y="1627377"/>
            <a:ext cx="10356826" cy="42827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Date Placeholder 36">
            <a:extLst>
              <a:ext uri="{FF2B5EF4-FFF2-40B4-BE49-F238E27FC236}">
                <a16:creationId xmlns:a16="http://schemas.microsoft.com/office/drawing/2014/main" id="{DAD9F211-8A26-A14D-A4EE-2B119C49774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2DEE9-0865-D344-8711-F8CC03D056E7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FDCE173A-498F-A940-9756-788C0C6112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pared by Americaneagle.com. All contents proprietary and confidential. ©2019</a:t>
            </a:r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A4E51BE7-0FC0-C647-B7AD-42A0E15278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690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CE281AD-3D97-3F4D-B460-4813B2340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7457" y="278304"/>
            <a:ext cx="585135" cy="41953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FD4F2AD-2323-FC45-8E10-761267EAD8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9720" y="6337232"/>
            <a:ext cx="1416489" cy="146304"/>
          </a:xfrm>
          <a:prstGeom prst="rect">
            <a:avLst/>
          </a:prstGeom>
        </p:spPr>
      </p:pic>
      <p:sp>
        <p:nvSpPr>
          <p:cNvPr id="28" name="Title 27">
            <a:extLst>
              <a:ext uri="{FF2B5EF4-FFF2-40B4-BE49-F238E27FC236}">
                <a16:creationId xmlns:a16="http://schemas.microsoft.com/office/drawing/2014/main" id="{A60B22D3-72B9-D541-913A-A209FBAD9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CDB277D-0B2E-914D-B538-453CB9D51B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7584" y="1627377"/>
            <a:ext cx="4943720" cy="428277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Date Placeholder 36">
            <a:extLst>
              <a:ext uri="{FF2B5EF4-FFF2-40B4-BE49-F238E27FC236}">
                <a16:creationId xmlns:a16="http://schemas.microsoft.com/office/drawing/2014/main" id="{DAD9F211-8A26-A14D-A4EE-2B119C49774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A2DEE9-0865-D344-8711-F8CC03D056E7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FDCE173A-498F-A940-9756-788C0C6112E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pared by Americaneagle.com. All contents proprietary and confidential. ©2019</a:t>
            </a:r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A4E51BE7-0FC0-C647-B7AD-42A0E15278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35">
            <a:extLst>
              <a:ext uri="{FF2B5EF4-FFF2-40B4-BE49-F238E27FC236}">
                <a16:creationId xmlns:a16="http://schemas.microsoft.com/office/drawing/2014/main" id="{CCA114EE-A64A-5345-90D3-BA4681229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0690" y="1627377"/>
            <a:ext cx="4943720" cy="428277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3800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v.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917589" y="4495799"/>
            <a:ext cx="10356823" cy="1447799"/>
          </a:xfrm>
        </p:spPr>
        <p:txBody>
          <a:bodyPr/>
          <a:lstStyle>
            <a:lvl1pPr marL="0" indent="0" algn="ctr">
              <a:buNone/>
              <a:defRPr sz="1000" spc="600">
                <a:solidFill>
                  <a:schemeClr val="bg1"/>
                </a:solidFill>
              </a:defRPr>
            </a:lvl1pPr>
            <a:lvl2pPr marL="457200" indent="0">
              <a:buNone/>
              <a:defRPr sz="1000" spc="600">
                <a:solidFill>
                  <a:schemeClr val="bg1"/>
                </a:solidFill>
              </a:defRPr>
            </a:lvl2pPr>
            <a:lvl3pPr marL="914400" indent="0">
              <a:buNone/>
              <a:defRPr sz="1000" spc="600">
                <a:solidFill>
                  <a:schemeClr val="bg1"/>
                </a:solidFill>
              </a:defRPr>
            </a:lvl3pPr>
            <a:lvl4pPr marL="1371600" indent="0">
              <a:buNone/>
              <a:defRPr sz="1000" spc="600">
                <a:solidFill>
                  <a:schemeClr val="bg1"/>
                </a:solidFill>
              </a:defRPr>
            </a:lvl4pPr>
            <a:lvl5pPr marL="1828800" indent="0">
              <a:buNone/>
              <a:defRPr sz="1000" spc="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E76DF3-F136-1547-BFC1-D21042780D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85800" y="5868501"/>
            <a:ext cx="3657600" cy="383856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ap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2ECD9F4-CB0E-3744-AD19-A6ACE06A75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9B1A24-3658-FA4C-88DE-60B4F63BB2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583" y="2150075"/>
            <a:ext cx="3160147" cy="3756455"/>
          </a:xfrm>
        </p:spPr>
        <p:txBody>
          <a:bodyPr/>
          <a:lstStyle>
            <a:lvl1pPr algn="r">
              <a:defRPr sz="5500"/>
            </a:lvl1pPr>
          </a:lstStyle>
          <a:p>
            <a:r>
              <a:rPr lang="en-US" dirty="0"/>
              <a:t>Let’s</a:t>
            </a:r>
            <a:br>
              <a:rPr lang="en-US" dirty="0"/>
            </a:br>
            <a:r>
              <a:rPr lang="en-US" dirty="0"/>
              <a:t>build a</a:t>
            </a:r>
            <a:br>
              <a:rPr lang="en-US" dirty="0"/>
            </a:br>
            <a:r>
              <a:rPr lang="en-US" dirty="0"/>
              <a:t>team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7F3C96F-03FA-D64B-8264-D6CEB76A0C2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975654" y="1400433"/>
            <a:ext cx="6298755" cy="4506098"/>
          </a:xfrm>
        </p:spPr>
        <p:txBody>
          <a:bodyPr numCol="2" spcCol="1554480"/>
          <a:lstStyle>
            <a:lvl1pPr marL="0" indent="0">
              <a:buNone/>
              <a:defRPr sz="1700">
                <a:solidFill>
                  <a:schemeClr val="bg2"/>
                </a:solidFill>
              </a:defRPr>
            </a:lvl1pPr>
            <a:lvl2pPr marL="457200" indent="0">
              <a:buNone/>
              <a:defRPr sz="1700">
                <a:solidFill>
                  <a:schemeClr val="bg2"/>
                </a:solidFill>
              </a:defRPr>
            </a:lvl2pPr>
            <a:lvl3pPr marL="914400" indent="0">
              <a:buNone/>
              <a:defRPr sz="1700">
                <a:solidFill>
                  <a:schemeClr val="bg2"/>
                </a:solidFill>
              </a:defRPr>
            </a:lvl3pPr>
            <a:lvl4pPr marL="1371600" indent="0">
              <a:buNone/>
              <a:defRPr sz="1700">
                <a:solidFill>
                  <a:schemeClr val="bg2"/>
                </a:solidFill>
              </a:defRPr>
            </a:lvl4pPr>
            <a:lvl5pPr marL="1828800" indent="0">
              <a:buNone/>
              <a:defRPr sz="1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Sub-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23AD88-375D-4349-9EAF-228DA6CD98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457" y="278304"/>
            <a:ext cx="585135" cy="41953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4A05842-92E7-4549-8224-E18B8AA7C4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9720" y="6337232"/>
            <a:ext cx="1416489" cy="14630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F199A46-ACA3-674A-80BB-34E99CB0224F}"/>
              </a:ext>
            </a:extLst>
          </p:cNvPr>
          <p:cNvSpPr txBox="1">
            <a:spLocks/>
          </p:cNvSpPr>
          <p:nvPr userDrawn="1"/>
        </p:nvSpPr>
        <p:spPr>
          <a:xfrm>
            <a:off x="999963" y="1400433"/>
            <a:ext cx="3160147" cy="1753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500" b="1" i="0" kern="1200">
                <a:solidFill>
                  <a:schemeClr val="bg2"/>
                </a:solidFill>
                <a:latin typeface="+mj-lt"/>
                <a:ea typeface="Libre Franklin" charset="0"/>
                <a:cs typeface="Libre Franklin" charset="0"/>
              </a:defRPr>
            </a:lvl1pPr>
          </a:lstStyle>
          <a:p>
            <a:r>
              <a:rPr lang="en-US" sz="1000" b="0" spc="600" dirty="0">
                <a:solidFill>
                  <a:schemeClr val="bg1">
                    <a:lumMod val="50000"/>
                  </a:schemeClr>
                </a:solidFill>
              </a:rPr>
              <a:t>RECAP</a:t>
            </a:r>
          </a:p>
        </p:txBody>
      </p:sp>
    </p:spTree>
    <p:extLst>
      <p:ext uri="{BB962C8B-B14F-4D97-AF65-F5344CB8AC3E}">
        <p14:creationId xmlns:p14="http://schemas.microsoft.com/office/powerpoint/2010/main" val="12356970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CDB277D-0B2E-914D-B538-453CB9D51B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7584" y="1627377"/>
            <a:ext cx="10356826" cy="4282770"/>
          </a:xfrm>
        </p:spPr>
        <p:txBody>
          <a:bodyPr anchor="b"/>
          <a:lstStyle>
            <a:lvl1pPr marL="0" indent="0" algn="ctr">
              <a:buNone/>
              <a:defRPr sz="1000"/>
            </a:lvl1pPr>
            <a:lvl2pPr marL="457200" indent="0" algn="ctr">
              <a:buNone/>
              <a:defRPr sz="1000"/>
            </a:lvl2pPr>
            <a:lvl3pPr marL="914400" indent="0" algn="ctr">
              <a:buNone/>
              <a:defRPr sz="1000"/>
            </a:lvl3pPr>
            <a:lvl4pPr marL="1371600" indent="0" algn="ctr">
              <a:buNone/>
              <a:defRPr sz="1000"/>
            </a:lvl4pPr>
            <a:lvl5pPr marL="1828800" indent="0" algn="ctr">
              <a:buNone/>
              <a:defRPr sz="1000"/>
            </a:lvl5pPr>
          </a:lstStyle>
          <a:p>
            <a:pPr lvl="0"/>
            <a:r>
              <a:rPr lang="en-US" dirty="0"/>
              <a:t>Contact Inform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BF9444-64D0-1D45-8C35-0E761890DD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16731" y="1627377"/>
            <a:ext cx="5158539" cy="3136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1942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0713063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rgbClr val="0030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 dirty="0">
              <a:latin typeface="Libre Franklin Regular" pitchFamily="2" charset="77"/>
            </a:endParaRPr>
          </a:p>
        </p:txBody>
      </p:sp>
      <p:sp>
        <p:nvSpPr>
          <p:cNvPr id="6" name="Title"/>
          <p:cNvSpPr>
            <a:spLocks noGrp="1"/>
          </p:cNvSpPr>
          <p:nvPr>
            <p:ph type="body" sz="quarter" idx="30" hasCustomPrompt="1"/>
          </p:nvPr>
        </p:nvSpPr>
        <p:spPr>
          <a:xfrm>
            <a:off x="917587" y="1143001"/>
            <a:ext cx="4266922" cy="4800599"/>
          </a:xfrm>
        </p:spPr>
        <p:txBody>
          <a:bodyPr anchor="ctr"/>
          <a:lstStyle>
            <a:lvl1pPr marL="0" indent="0" algn="ctr">
              <a:buNone/>
              <a:defRPr sz="6500" b="1">
                <a:solidFill>
                  <a:schemeClr val="bg2"/>
                </a:solidFill>
              </a:defRPr>
            </a:lvl1pPr>
            <a:lvl2pPr marL="457206" indent="0">
              <a:buNone/>
              <a:defRPr sz="6500" b="1">
                <a:solidFill>
                  <a:schemeClr val="bg2"/>
                </a:solidFill>
              </a:defRPr>
            </a:lvl2pPr>
            <a:lvl3pPr marL="914412" indent="0">
              <a:buNone/>
              <a:defRPr sz="6500" b="1">
                <a:solidFill>
                  <a:schemeClr val="bg2"/>
                </a:solidFill>
              </a:defRPr>
            </a:lvl3pPr>
            <a:lvl4pPr marL="1371617" indent="0">
              <a:buNone/>
              <a:defRPr sz="6500" b="1">
                <a:solidFill>
                  <a:schemeClr val="bg2"/>
                </a:solidFill>
              </a:defRPr>
            </a:lvl4pPr>
            <a:lvl5pPr marL="1828823" indent="0">
              <a:buNone/>
              <a:defRPr sz="65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14" name="Content Placeholder"/>
          <p:cNvSpPr>
            <a:spLocks noGrp="1"/>
          </p:cNvSpPr>
          <p:nvPr>
            <p:ph type="body" sz="quarter" idx="33" hasCustomPrompt="1"/>
          </p:nvPr>
        </p:nvSpPr>
        <p:spPr>
          <a:xfrm>
            <a:off x="7010402" y="1143000"/>
            <a:ext cx="4264011" cy="4800596"/>
          </a:xfrm>
        </p:spPr>
        <p:txBody>
          <a:bodyPr anchor="ctr"/>
          <a:lstStyle>
            <a:lvl1pPr marL="342905" indent="-342905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1pPr>
            <a:lvl2pPr marL="800110" indent="-342905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2pPr>
            <a:lvl3pPr marL="1257316" indent="-342905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3pPr>
            <a:lvl4pPr marL="1714522" indent="-342905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4pPr>
            <a:lvl5pPr marL="2171727" indent="-342905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40099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Whit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E9114-6B07-42AE-A447-FCCB98EE2B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7584" y="3355157"/>
            <a:ext cx="10356826" cy="1140642"/>
          </a:xfrm>
        </p:spPr>
        <p:txBody>
          <a:bodyPr>
            <a:noAutofit/>
          </a:bodyPr>
          <a:lstStyle>
            <a:lvl1pPr algn="ctr">
              <a:defRPr sz="6500" cap="all" baseline="0"/>
            </a:lvl1pPr>
          </a:lstStyle>
          <a:p>
            <a:r>
              <a:rPr lang="en-US" dirty="0"/>
              <a:t>Company name</a:t>
            </a:r>
          </a:p>
        </p:txBody>
      </p:sp>
      <p:sp>
        <p:nvSpPr>
          <p:cNvPr id="7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917589" y="4495799"/>
            <a:ext cx="10356823" cy="1447799"/>
          </a:xfrm>
        </p:spPr>
        <p:txBody>
          <a:bodyPr/>
          <a:lstStyle>
            <a:lvl1pPr marL="0" indent="0" algn="ctr">
              <a:buNone/>
              <a:defRPr sz="1000" spc="600">
                <a:solidFill>
                  <a:schemeClr val="tx1"/>
                </a:solidFill>
              </a:defRPr>
            </a:lvl1pPr>
            <a:lvl2pPr marL="457200" indent="0">
              <a:buNone/>
              <a:defRPr sz="1000" spc="600">
                <a:solidFill>
                  <a:schemeClr val="tx1"/>
                </a:solidFill>
              </a:defRPr>
            </a:lvl2pPr>
            <a:lvl3pPr marL="914400" indent="0">
              <a:buNone/>
              <a:defRPr sz="1000" spc="600">
                <a:solidFill>
                  <a:schemeClr val="tx1"/>
                </a:solidFill>
              </a:defRPr>
            </a:lvl3pPr>
            <a:lvl4pPr marL="1371600" indent="0">
              <a:buNone/>
              <a:defRPr sz="1000" spc="600">
                <a:solidFill>
                  <a:schemeClr val="tx1"/>
                </a:solidFill>
              </a:defRPr>
            </a:lvl4pPr>
            <a:lvl5pPr marL="1828800" indent="0">
              <a:buNone/>
              <a:defRPr sz="1000" spc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CAC0A79-793E-3C43-B53C-12B518547C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50786" y="685796"/>
            <a:ext cx="3291840" cy="1998578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White) v.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917589" y="4495799"/>
            <a:ext cx="10356823" cy="1447799"/>
          </a:xfrm>
        </p:spPr>
        <p:txBody>
          <a:bodyPr/>
          <a:lstStyle>
            <a:lvl1pPr marL="0" indent="0" algn="ctr">
              <a:buNone/>
              <a:defRPr sz="1000" spc="600">
                <a:solidFill>
                  <a:schemeClr val="tx1"/>
                </a:solidFill>
              </a:defRPr>
            </a:lvl1pPr>
            <a:lvl2pPr marL="457200" indent="0">
              <a:buNone/>
              <a:defRPr sz="1000" spc="600">
                <a:solidFill>
                  <a:schemeClr val="tx1"/>
                </a:solidFill>
              </a:defRPr>
            </a:lvl2pPr>
            <a:lvl3pPr marL="914400" indent="0">
              <a:buNone/>
              <a:defRPr sz="1000" spc="600">
                <a:solidFill>
                  <a:schemeClr val="tx1"/>
                </a:solidFill>
              </a:defRPr>
            </a:lvl3pPr>
            <a:lvl4pPr marL="1371600" indent="0">
              <a:buNone/>
              <a:defRPr sz="1000" spc="600">
                <a:solidFill>
                  <a:schemeClr val="tx1"/>
                </a:solidFill>
              </a:defRPr>
            </a:lvl4pPr>
            <a:lvl5pPr marL="1828800" indent="0">
              <a:buNone/>
              <a:defRPr sz="1000" spc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31FAF4-04C1-6549-AAB3-2C3104AA5F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67200" y="1377919"/>
            <a:ext cx="3657600" cy="383856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(White) v.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body" sz="quarter" idx="16" hasCustomPrompt="1"/>
          </p:nvPr>
        </p:nvSpPr>
        <p:spPr>
          <a:xfrm>
            <a:off x="917589" y="4495799"/>
            <a:ext cx="10356823" cy="1447799"/>
          </a:xfrm>
        </p:spPr>
        <p:txBody>
          <a:bodyPr/>
          <a:lstStyle>
            <a:lvl1pPr marL="0" indent="0" algn="ctr">
              <a:buNone/>
              <a:defRPr sz="1000" spc="600">
                <a:solidFill>
                  <a:schemeClr val="tx1"/>
                </a:solidFill>
              </a:defRPr>
            </a:lvl1pPr>
            <a:lvl2pPr marL="457200" indent="0">
              <a:buNone/>
              <a:defRPr sz="1000" spc="600">
                <a:solidFill>
                  <a:schemeClr val="tx1"/>
                </a:solidFill>
              </a:defRPr>
            </a:lvl2pPr>
            <a:lvl3pPr marL="914400" indent="0">
              <a:buNone/>
              <a:defRPr sz="1000" spc="600">
                <a:solidFill>
                  <a:schemeClr val="tx1"/>
                </a:solidFill>
              </a:defRPr>
            </a:lvl3pPr>
            <a:lvl4pPr marL="1371600" indent="0">
              <a:buNone/>
              <a:defRPr sz="1000" spc="600">
                <a:solidFill>
                  <a:schemeClr val="tx1"/>
                </a:solidFill>
              </a:defRPr>
            </a:lvl4pPr>
            <a:lvl5pPr marL="1828800" indent="0">
              <a:buNone/>
              <a:defRPr sz="1000" spc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1E609D-B966-8740-974D-7DE5DDC54A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87092" y="5869920"/>
            <a:ext cx="3657600" cy="383856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102096" y="0"/>
            <a:ext cx="608990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62F6BD-54D0-B845-B2EF-B70C453F6D93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"/>
          <p:cNvSpPr>
            <a:spLocks noGrp="1"/>
          </p:cNvSpPr>
          <p:nvPr>
            <p:ph type="body" sz="quarter" idx="30" hasCustomPrompt="1"/>
          </p:nvPr>
        </p:nvSpPr>
        <p:spPr>
          <a:xfrm>
            <a:off x="917587" y="1143000"/>
            <a:ext cx="4266921" cy="4800598"/>
          </a:xfrm>
        </p:spPr>
        <p:txBody>
          <a:bodyPr anchor="ctr"/>
          <a:lstStyle>
            <a:lvl1pPr marL="0" indent="0" algn="ctr">
              <a:buNone/>
              <a:defRPr sz="6500" b="1">
                <a:solidFill>
                  <a:schemeClr val="bg2"/>
                </a:solidFill>
              </a:defRPr>
            </a:lvl1pPr>
            <a:lvl2pPr marL="457200" indent="0">
              <a:buNone/>
              <a:defRPr sz="6500" b="1">
                <a:solidFill>
                  <a:schemeClr val="bg2"/>
                </a:solidFill>
              </a:defRPr>
            </a:lvl2pPr>
            <a:lvl3pPr marL="914400" indent="0">
              <a:buNone/>
              <a:defRPr sz="6500" b="1">
                <a:solidFill>
                  <a:schemeClr val="bg2"/>
                </a:solidFill>
              </a:defRPr>
            </a:lvl3pPr>
            <a:lvl4pPr marL="1371600" indent="0">
              <a:buNone/>
              <a:defRPr sz="6500" b="1">
                <a:solidFill>
                  <a:schemeClr val="bg2"/>
                </a:solidFill>
              </a:defRPr>
            </a:lvl4pPr>
            <a:lvl5pPr marL="1828800" indent="0">
              <a:buNone/>
              <a:defRPr sz="65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Insert Agenda Title</a:t>
            </a:r>
          </a:p>
        </p:txBody>
      </p:sp>
      <p:sp>
        <p:nvSpPr>
          <p:cNvPr id="14" name="Content Placeholder"/>
          <p:cNvSpPr>
            <a:spLocks noGrp="1"/>
          </p:cNvSpPr>
          <p:nvPr>
            <p:ph type="body" sz="quarter" idx="33" hasCustomPrompt="1"/>
          </p:nvPr>
        </p:nvSpPr>
        <p:spPr>
          <a:xfrm>
            <a:off x="7010401" y="1143000"/>
            <a:ext cx="4264010" cy="4800596"/>
          </a:xfrm>
        </p:spPr>
        <p:txBody>
          <a:bodyPr anchor="ctr"/>
          <a:lstStyle>
            <a:lvl1pPr marL="342900" indent="-342900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1pPr>
            <a:lvl2pPr marL="800100" indent="-342900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2pPr>
            <a:lvl3pPr marL="1257300" indent="-342900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3pPr>
            <a:lvl4pPr marL="1714500" indent="-342900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4pPr>
            <a:lvl5pPr marL="2171700" indent="-342900">
              <a:spcBef>
                <a:spcPts val="1500"/>
              </a:spcBef>
              <a:buFontTx/>
              <a:buBlip>
                <a:blip r:embed="rId2"/>
              </a:buBlip>
              <a:defRPr sz="2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5568C1-7474-C64F-A14B-B692BDC3E8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2743200" cy="571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C21A95-0ACA-FD43-B4DD-20058BBFF73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57200" y="188849"/>
            <a:ext cx="1908175" cy="19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676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2742546" cy="571500"/>
            <a:chOff x="0" y="0"/>
            <a:chExt cx="2742546" cy="5715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2742546" cy="571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6546" y="187821"/>
              <a:ext cx="1828800" cy="199816"/>
            </a:xfrm>
            <a:prstGeom prst="rect">
              <a:avLst/>
            </a:prstGeom>
          </p:spPr>
        </p:pic>
      </p:grp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917589" y="1143000"/>
            <a:ext cx="10356823" cy="4800600"/>
          </a:xfrm>
        </p:spPr>
        <p:txBody>
          <a:bodyPr anchor="ctr"/>
          <a:lstStyle>
            <a:lvl1pPr marL="0" indent="0" algn="ctr">
              <a:buNone/>
              <a:defRPr sz="6500" b="1">
                <a:solidFill>
                  <a:schemeClr val="bg1"/>
                </a:solidFill>
              </a:defRPr>
            </a:lvl1pPr>
            <a:lvl2pPr marL="457200" indent="0">
              <a:buNone/>
              <a:defRPr sz="6500" b="1">
                <a:solidFill>
                  <a:schemeClr val="bg1"/>
                </a:solidFill>
              </a:defRPr>
            </a:lvl2pPr>
            <a:lvl3pPr marL="914400" indent="0">
              <a:buNone/>
              <a:defRPr sz="6500" b="1">
                <a:solidFill>
                  <a:schemeClr val="bg1"/>
                </a:solidFill>
              </a:defRPr>
            </a:lvl3pPr>
            <a:lvl4pPr marL="1371600" indent="0">
              <a:buNone/>
              <a:defRPr sz="6500" b="1">
                <a:solidFill>
                  <a:schemeClr val="bg1"/>
                </a:solidFill>
              </a:defRPr>
            </a:lvl4pPr>
            <a:lvl5pPr marL="1828800" indent="0">
              <a:buNone/>
              <a:defRPr sz="65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FCCE04-FEEE-2440-9F38-474E8387E1ED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742546" cy="571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9B57C7A-55BC-9E4D-ACD7-34A00B47C3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57200" y="185945"/>
            <a:ext cx="1911096" cy="19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5006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"/>
          <p:cNvSpPr>
            <a:spLocks noGrp="1"/>
          </p:cNvSpPr>
          <p:nvPr>
            <p:ph type="body" sz="quarter" idx="19" hasCustomPrompt="1"/>
          </p:nvPr>
        </p:nvSpPr>
        <p:spPr>
          <a:xfrm>
            <a:off x="917584" y="2189260"/>
            <a:ext cx="10356826" cy="3754638"/>
          </a:xfrm>
        </p:spPr>
        <p:txBody>
          <a:bodyPr/>
          <a:lstStyle>
            <a:lvl1pPr marL="0" indent="0" algn="l" defTabSz="283464">
              <a:spcBef>
                <a:spcPts val="0"/>
              </a:spcBef>
              <a:buNone/>
              <a:defRPr baseline="0"/>
            </a:lvl1pPr>
            <a:lvl2pPr marL="457200" indent="0" algn="l">
              <a:buNone/>
              <a:defRPr/>
            </a:lvl2pPr>
            <a:lvl3pPr marL="941832" indent="0" algn="l">
              <a:buNone/>
              <a:defRPr/>
            </a:lvl3pPr>
            <a:lvl4pPr marL="1426464" indent="0" algn="l">
              <a:buNone/>
              <a:defRPr/>
            </a:lvl4pPr>
            <a:lvl5pPr marL="1901952" indent="0" algn="l">
              <a:buNone/>
              <a:defRPr/>
            </a:lvl5pPr>
          </a:lstStyle>
          <a:p>
            <a:pPr lvl="0"/>
            <a:r>
              <a:rPr lang="en-US" dirty="0"/>
              <a:t>Body text.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9299E630-2921-B646-9634-03A3042E6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8CF5274-6B94-4445-A814-9B4D26D86341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8748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EB6E24-F7C4-4E41-9216-46FEF7182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7584" y="1143297"/>
            <a:ext cx="10356826" cy="9933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"/>
          <p:cNvSpPr>
            <a:spLocks noGrp="1"/>
          </p:cNvSpPr>
          <p:nvPr>
            <p:ph type="body" idx="1"/>
          </p:nvPr>
        </p:nvSpPr>
        <p:spPr>
          <a:xfrm>
            <a:off x="917584" y="2189260"/>
            <a:ext cx="10356826" cy="37546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93822292-4AC9-A741-A1D8-C42A095625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97534" y="6322355"/>
            <a:ext cx="11228705" cy="2747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Prepared by Americaneagle.com. All contents proprietary and confidential. ©2018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171F4F-94E0-6044-9409-E7ADBD32F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365760" y="6322355"/>
            <a:ext cx="231775" cy="27476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10454640" y="6322804"/>
            <a:ext cx="1371600" cy="2743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CA9983CB-65E5-0F42-9420-2C49FDA144C0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5E2027FC-F01D-4117-BE22-61E54B6602BC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DD7F88-DB87-DC4A-AEB7-A47CF46426F9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-3175" y="-3175"/>
            <a:ext cx="2743200" cy="571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38CEA26-4105-D94C-B7E8-1FB3FA4EB705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457200" y="188849"/>
            <a:ext cx="1908175" cy="19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576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73" r:id="rId7"/>
    <p:sldLayoutId id="2147483771" r:id="rId8"/>
    <p:sldLayoutId id="2147483768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67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5000" b="1" i="0" kern="1200">
          <a:solidFill>
            <a:schemeClr val="bg2"/>
          </a:solidFill>
          <a:latin typeface="+mj-lt"/>
          <a:ea typeface="Libre Franklin" charset="0"/>
          <a:cs typeface="Libre Franklin" charset="0"/>
        </a:defRPr>
      </a:lvl1pPr>
    </p:titleStyle>
    <p:bodyStyle>
      <a:lvl1pPr marL="0" indent="-283464" algn="l" defTabSz="283464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8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1pPr>
      <a:lvl2pPr marL="740664" indent="-283464" algn="l" defTabSz="283464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8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2pPr>
      <a:lvl3pPr marL="1197864" indent="-283464" algn="l" defTabSz="283464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8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3pPr>
      <a:lvl4pPr marL="1655064" indent="-283464" algn="l" defTabSz="283464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8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4pPr>
      <a:lvl5pPr marL="2112264" indent="-283464" algn="l" defTabSz="283464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8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76" userDrawn="1">
          <p15:clr>
            <a:srgbClr val="F26B43"/>
          </p15:clr>
        </p15:guide>
        <p15:guide id="3" pos="7104" userDrawn="1">
          <p15:clr>
            <a:srgbClr val="F26B43"/>
          </p15:clr>
        </p15:guide>
        <p15:guide id="4" orient="horz" pos="1368" userDrawn="1">
          <p15:clr>
            <a:srgbClr val="F26B43"/>
          </p15:clr>
        </p15:guide>
        <p15:guide id="5" orient="horz" pos="3750" userDrawn="1">
          <p15:clr>
            <a:srgbClr val="F26B43"/>
          </p15:clr>
        </p15:guide>
        <p15:guide id="6" orient="horz" pos="717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DEB6E24-F7C4-4E41-9216-46FEF7182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7584" y="944136"/>
            <a:ext cx="10356826" cy="6216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"/>
          <p:cNvSpPr>
            <a:spLocks noGrp="1"/>
          </p:cNvSpPr>
          <p:nvPr>
            <p:ph type="body" idx="1"/>
          </p:nvPr>
        </p:nvSpPr>
        <p:spPr>
          <a:xfrm>
            <a:off x="917584" y="1627377"/>
            <a:ext cx="10356826" cy="42827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93822292-4AC9-A741-A1D8-C42A095625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2546" y="6356196"/>
            <a:ext cx="8415454" cy="240928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rgbClr val="929292"/>
                </a:solidFill>
              </a:defRPr>
            </a:lvl1pPr>
          </a:lstStyle>
          <a:p>
            <a:r>
              <a:rPr lang="en-US" dirty="0"/>
              <a:t>Prepared by Americaneagle.com. All contents proprietary and confidential. ©2019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171F4F-94E0-6044-9409-E7ADBD32F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425214" y="492227"/>
            <a:ext cx="293717" cy="27476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1">
                <a:solidFill>
                  <a:schemeClr val="bg2"/>
                </a:solidFill>
              </a:defRPr>
            </a:lvl1pPr>
          </a:lstStyle>
          <a:p>
            <a:fld id="{5241FA14-293F-264D-9E10-FC17E3372F2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10829889" y="6356196"/>
            <a:ext cx="889042" cy="240928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kern="0" spc="50" baseline="0">
                <a:solidFill>
                  <a:srgbClr val="929292"/>
                </a:solidFill>
              </a:defRPr>
            </a:lvl1pPr>
          </a:lstStyle>
          <a:p>
            <a:fld id="{2625E1C6-089C-B04E-9EE3-8F3D0F7984F1}" type="datetime1">
              <a:rPr lang="en-US" smtClean="0"/>
              <a:t>9/19/2023</a:t>
            </a:fld>
            <a:endParaRPr lang="en-US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5E2027FC-F01D-4117-BE22-61E54B6602B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790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4" r:id="rId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i="0" kern="1200">
          <a:solidFill>
            <a:schemeClr val="bg2"/>
          </a:solidFill>
          <a:latin typeface="+mj-lt"/>
          <a:ea typeface="Libre Franklin" charset="0"/>
          <a:cs typeface="Libre Franklin" charset="0"/>
        </a:defRPr>
      </a:lvl1pPr>
    </p:titleStyle>
    <p:bodyStyle>
      <a:lvl1pPr marL="171450" indent="-171450" algn="l" defTabSz="2286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1pPr>
      <a:lvl2pPr marL="685800" indent="-228600" algn="l" defTabSz="2286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4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2pPr>
      <a:lvl3pPr marL="1143000" indent="-228600" algn="l" defTabSz="2286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4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3pPr>
      <a:lvl4pPr marL="1600200" indent="-228600" algn="l" defTabSz="2286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4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4pPr>
      <a:lvl5pPr marL="2057400" indent="-228600" algn="l" defTabSz="2286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400" b="0" i="0" kern="1200">
          <a:solidFill>
            <a:schemeClr val="tx1"/>
          </a:solidFill>
          <a:latin typeface="+mn-lt"/>
          <a:ea typeface="Libre Franklin" charset="0"/>
          <a:cs typeface="Libre Franklin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576">
          <p15:clr>
            <a:srgbClr val="F26B43"/>
          </p15:clr>
        </p15:guide>
        <p15:guide id="3" pos="7104">
          <p15:clr>
            <a:srgbClr val="F26B43"/>
          </p15:clr>
        </p15:guide>
        <p15:guide id="4" orient="horz" pos="1368">
          <p15:clr>
            <a:srgbClr val="F26B43"/>
          </p15:clr>
        </p15:guide>
        <p15:guide id="5" orient="horz" pos="3750">
          <p15:clr>
            <a:srgbClr val="F26B43"/>
          </p15:clr>
        </p15:guide>
        <p15:guide id="6" orient="horz" pos="717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magurabcs.com/seoaudit" TargetMode="Externa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5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BA93E7-BF7E-C24E-B10D-682F38E1A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5-</a:t>
            </a:r>
            <a:r>
              <a:rPr lang="bg-BG" sz="4000" dirty="0"/>
              <a:t>те Най-Важни Вътрешни</a:t>
            </a:r>
            <a:r>
              <a:rPr lang="en-US" sz="4000" dirty="0"/>
              <a:t> </a:t>
            </a:r>
            <a:r>
              <a:rPr lang="bg-BG" sz="4000" dirty="0"/>
              <a:t>фактори за класиране </a:t>
            </a:r>
            <a:r>
              <a:rPr lang="bg-BG" sz="4000"/>
              <a:t>в Гугъл</a:t>
            </a:r>
            <a:endParaRPr lang="en-US" sz="4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137CF5-DAE2-CF49-9D97-F62D02859D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l"/>
            <a:endParaRPr lang="en-US" sz="2500" dirty="0"/>
          </a:p>
          <a:p>
            <a:pPr algn="l"/>
            <a:endParaRPr lang="en-US" sz="250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0E6F012-9180-B74B-835A-0B85398D1E76}"/>
              </a:ext>
            </a:extLst>
          </p:cNvPr>
          <p:cNvSpPr txBox="1">
            <a:spLocks/>
          </p:cNvSpPr>
          <p:nvPr/>
        </p:nvSpPr>
        <p:spPr>
          <a:xfrm>
            <a:off x="917584" y="2914650"/>
            <a:ext cx="10356822" cy="3352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283464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1000" b="0" i="0" kern="1200" cap="all" spc="600" baseline="0">
                <a:solidFill>
                  <a:schemeClr val="bg1"/>
                </a:solidFill>
                <a:latin typeface="+mn-lt"/>
                <a:ea typeface="Libre Franklin" charset="0"/>
                <a:cs typeface="Libre Franklin" charset="0"/>
              </a:defRPr>
            </a:lvl1pPr>
            <a:lvl2pPr marL="457200" indent="0" algn="ctr" defTabSz="283464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sz="6500" b="1" i="0" kern="1200">
                <a:solidFill>
                  <a:schemeClr val="bg1"/>
                </a:solidFill>
                <a:latin typeface="+mn-lt"/>
                <a:ea typeface="Libre Franklin" charset="0"/>
                <a:cs typeface="Libre Franklin" charset="0"/>
              </a:defRPr>
            </a:lvl2pPr>
            <a:lvl3pPr marL="914400" indent="0" algn="ctr" defTabSz="283464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sz="6500" b="1" i="0" kern="1200">
                <a:solidFill>
                  <a:schemeClr val="bg1"/>
                </a:solidFill>
                <a:latin typeface="+mn-lt"/>
                <a:ea typeface="Libre Franklin" charset="0"/>
                <a:cs typeface="Libre Franklin" charset="0"/>
              </a:defRPr>
            </a:lvl3pPr>
            <a:lvl4pPr marL="1371600" indent="0" algn="ctr" defTabSz="283464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sz="6500" b="1" i="0" kern="1200">
                <a:solidFill>
                  <a:schemeClr val="bg1"/>
                </a:solidFill>
                <a:latin typeface="+mn-lt"/>
                <a:ea typeface="Libre Franklin" charset="0"/>
                <a:cs typeface="Libre Franklin" charset="0"/>
              </a:defRPr>
            </a:lvl4pPr>
            <a:lvl5pPr marL="1828800" indent="0" algn="ctr" defTabSz="283464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sz="6500" b="1" i="0" kern="1200">
                <a:solidFill>
                  <a:schemeClr val="bg1"/>
                </a:solidFill>
                <a:latin typeface="+mn-lt"/>
                <a:ea typeface="Libre Franklin" charset="0"/>
                <a:cs typeface="Libre Franklin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2500" cap="none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53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186477"/>
              </p:ext>
            </p:extLst>
          </p:nvPr>
        </p:nvGraphicFramePr>
        <p:xfrm>
          <a:off x="376518" y="1348097"/>
          <a:ext cx="5719481" cy="51732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316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5454165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227114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Определение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77979"/>
                  </a:ext>
                </a:extLst>
              </a:tr>
              <a:tr h="207335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URL адресът (Uniform Resource Locator) е уеб адресът, насочващ към конкретен онлайн ресурс</a:t>
                      </a:r>
                      <a:r>
                        <a:rPr lang="en-US" sz="1200" dirty="0"/>
                        <a:t> (</a:t>
                      </a:r>
                      <a:r>
                        <a:rPr lang="bg-BG" sz="1200" dirty="0"/>
                        <a:t>страница или долумент)</a:t>
                      </a:r>
                      <a:r>
                        <a:rPr lang="ru-RU" sz="1200" dirty="0"/>
                        <a:t>. От гледна точка на SEO оптимизацията добре структурираният URL адрес е от съществено значение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Той предлага на търсачките информация за съдържанието на дадена страница, като потенциално повишава нейното класиране при търсене. 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227114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Как да оптимизираме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URL </a:t>
                      </a:r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адресите?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18315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. URL адресите трябва да бъдат описателни и да дават представа за съдържанието на страницата.</a:t>
                      </a:r>
                    </a:p>
                    <a:p>
                      <a:r>
                        <a:rPr lang="ru-RU" sz="1200" dirty="0"/>
                        <a:t>2. Включете основните ключови думи в URL адреса.</a:t>
                      </a:r>
                    </a:p>
                    <a:p>
                      <a:r>
                        <a:rPr lang="ru-RU" sz="1200" dirty="0"/>
                        <a:t>3. Кратките URL адреси са по-удобни за потребителите и по-лесни за споделяне.</a:t>
                      </a:r>
                      <a:endParaRPr lang="en-US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19" y="4362196"/>
            <a:ext cx="312466" cy="312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1645881"/>
            <a:ext cx="312466" cy="312466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185381" y="880475"/>
            <a:ext cx="10296852" cy="4331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bg2"/>
                </a:solidFill>
                <a:latin typeface="+mj-lt"/>
                <a:ea typeface="Libre Franklin" charset="0"/>
                <a:cs typeface="Libre Franklin" charset="0"/>
              </a:defRPr>
            </a:lvl1pPr>
          </a:lstStyle>
          <a:p>
            <a:r>
              <a:rPr lang="bg-BG" sz="1800" b="0" dirty="0">
                <a:solidFill>
                  <a:schemeClr val="tx2"/>
                </a:solidFill>
              </a:rPr>
              <a:t>Вътрешно СЕО</a:t>
            </a:r>
            <a:endParaRPr lang="en-US" sz="1800" b="0" dirty="0">
              <a:solidFill>
                <a:schemeClr val="tx2"/>
              </a:solidFill>
            </a:endParaRPr>
          </a:p>
          <a:p>
            <a:endParaRPr lang="en-US" sz="1800" b="0" dirty="0">
              <a:solidFill>
                <a:schemeClr val="tx2"/>
              </a:solidFill>
            </a:endParaRPr>
          </a:p>
        </p:txBody>
      </p:sp>
      <p:sp>
        <p:nvSpPr>
          <p:cNvPr id="18" name="Title 14"/>
          <p:cNvSpPr>
            <a:spLocks noGrp="1"/>
          </p:cNvSpPr>
          <p:nvPr>
            <p:ph type="title"/>
          </p:nvPr>
        </p:nvSpPr>
        <p:spPr>
          <a:xfrm>
            <a:off x="1185381" y="336694"/>
            <a:ext cx="10356826" cy="621617"/>
          </a:xfrm>
        </p:spPr>
        <p:txBody>
          <a:bodyPr/>
          <a:lstStyle/>
          <a:p>
            <a:r>
              <a:rPr lang="en-US" dirty="0"/>
              <a:t>UR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EA1B81-4EB7-458C-BB9E-DC31E7FC2F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6186" y="1348097"/>
            <a:ext cx="5915814" cy="399903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024A3C7-586C-4382-9125-D14446FF1B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76186" y="1802114"/>
            <a:ext cx="5381625" cy="46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7737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8311402"/>
              </p:ext>
            </p:extLst>
          </p:nvPr>
        </p:nvGraphicFramePr>
        <p:xfrm>
          <a:off x="376518" y="1348097"/>
          <a:ext cx="5656089" cy="5751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376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5393713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227114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Определение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77979"/>
                  </a:ext>
                </a:extLst>
              </a:tr>
              <a:tr h="207335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H2 Таговете</a:t>
                      </a:r>
                      <a:r>
                        <a:rPr lang="en-US" sz="1200" dirty="0"/>
                        <a:t> </a:t>
                      </a:r>
                      <a:r>
                        <a:rPr lang="bg-BG" sz="1200" dirty="0"/>
                        <a:t>са</a:t>
                      </a:r>
                      <a:r>
                        <a:rPr lang="ru-RU" sz="1200" dirty="0"/>
                        <a:t> HTML елементи, които представляват второстепенни заглавия на уеб страница, често използвани за обозначаване на подраздели или теми под основното заглавие H1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От гледна точка на SEO H2, таговете играят ключова роля в структурата и йерархията на съдържанието. Те дават на търсачките по-ясна представа за организацията на съдържанието, като подчертават ключови подтеми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Включването на подходящи ключови думи в H2 таговете може допълнително да повиши релевантността на страницата към конкретни заявки за търсене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За потребителите H2 таговете разбиват съдържанието на лесно смилаеми раздели. Добре използваните H2 тагове подобряват както индексирането на съдържанието в търсачките, така и разбираемостта за потребителите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227114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Как да оптимизираме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H2 </a:t>
                      </a:r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таговете?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18315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. Включете ключови думи, които са свързани с главните думи, които страницата таргетира</a:t>
                      </a:r>
                      <a:br>
                        <a:rPr lang="ru-RU" sz="1200" dirty="0"/>
                      </a:br>
                      <a:r>
                        <a:rPr lang="ru-RU" sz="1200" dirty="0"/>
                        <a:t>2. </a:t>
                      </a:r>
                      <a:r>
                        <a:rPr lang="en-US" sz="1200" dirty="0"/>
                        <a:t>H2 </a:t>
                      </a:r>
                      <a:r>
                        <a:rPr lang="bg-BG" sz="1200" dirty="0"/>
                        <a:t>таговете трябва да са срвнително кратки</a:t>
                      </a:r>
                    </a:p>
                    <a:p>
                      <a:r>
                        <a:rPr lang="bg-BG" sz="1200" dirty="0"/>
                        <a:t>3. Н2 таговете трябва да се описателни (да имат смисъл сами за себе си за посетителите на страницата). </a:t>
                      </a:r>
                      <a:endParaRPr lang="en-US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721" y="4899654"/>
            <a:ext cx="312466" cy="312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1645881"/>
            <a:ext cx="312466" cy="312466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185381" y="880475"/>
            <a:ext cx="10296852" cy="4331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bg2"/>
                </a:solidFill>
                <a:latin typeface="+mj-lt"/>
                <a:ea typeface="Libre Franklin" charset="0"/>
                <a:cs typeface="Libre Franklin" charset="0"/>
              </a:defRPr>
            </a:lvl1pPr>
          </a:lstStyle>
          <a:p>
            <a:r>
              <a:rPr lang="bg-BG" sz="1800" b="0" dirty="0">
                <a:solidFill>
                  <a:schemeClr val="tx2"/>
                </a:solidFill>
              </a:rPr>
              <a:t>Вътрешно СЕО</a:t>
            </a:r>
            <a:endParaRPr lang="en-US" sz="1800" b="0" dirty="0">
              <a:solidFill>
                <a:schemeClr val="tx2"/>
              </a:solidFill>
            </a:endParaRPr>
          </a:p>
          <a:p>
            <a:endParaRPr lang="en-US" sz="1800" b="0" dirty="0">
              <a:solidFill>
                <a:schemeClr val="tx2"/>
              </a:solidFill>
            </a:endParaRPr>
          </a:p>
        </p:txBody>
      </p:sp>
      <p:sp>
        <p:nvSpPr>
          <p:cNvPr id="18" name="Title 14"/>
          <p:cNvSpPr>
            <a:spLocks noGrp="1"/>
          </p:cNvSpPr>
          <p:nvPr>
            <p:ph type="title"/>
          </p:nvPr>
        </p:nvSpPr>
        <p:spPr>
          <a:xfrm>
            <a:off x="1185381" y="336694"/>
            <a:ext cx="10356826" cy="621617"/>
          </a:xfrm>
        </p:spPr>
        <p:txBody>
          <a:bodyPr/>
          <a:lstStyle/>
          <a:p>
            <a:r>
              <a:rPr lang="en-US" dirty="0"/>
              <a:t>H2 Tag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47AF99-2803-4ADB-B81F-A1CE66E656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3806" y="1309687"/>
            <a:ext cx="5375457" cy="4881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5103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F5AF4-7B7D-E94F-9A12-2744C7836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1568" y="939114"/>
            <a:ext cx="8810635" cy="2434642"/>
          </a:xfrm>
        </p:spPr>
        <p:txBody>
          <a:bodyPr/>
          <a:lstStyle/>
          <a:p>
            <a:r>
              <a:rPr lang="bg-BG" dirty="0"/>
              <a:t>Бонус</a:t>
            </a:r>
            <a:r>
              <a:rPr lang="en-US" dirty="0"/>
              <a:t> – </a:t>
            </a:r>
            <a:r>
              <a:rPr lang="bg-BG" dirty="0"/>
              <a:t>Външно СЕО (</a:t>
            </a:r>
            <a:r>
              <a:rPr lang="en-US" dirty="0"/>
              <a:t>Off-Page</a:t>
            </a:r>
            <a:r>
              <a:rPr lang="bg-BG" dirty="0"/>
              <a:t> </a:t>
            </a:r>
            <a:r>
              <a:rPr lang="en-US" dirty="0"/>
              <a:t>SEO) </a:t>
            </a:r>
            <a:r>
              <a:rPr lang="bg-BG" dirty="0"/>
              <a:t>или Входящи Връзки (</a:t>
            </a:r>
            <a:r>
              <a:rPr lang="en-US" dirty="0"/>
              <a:t>Backlinks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21E2B6-D77A-D142-9223-78F42344992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bg-BG" sz="1600" dirty="0"/>
              <a:t>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0797229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5317423"/>
              </p:ext>
            </p:extLst>
          </p:nvPr>
        </p:nvGraphicFramePr>
        <p:xfrm>
          <a:off x="376518" y="1348097"/>
          <a:ext cx="6674277" cy="5385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608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6364669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227114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Определение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77979"/>
                  </a:ext>
                </a:extLst>
              </a:tr>
              <a:tr h="207335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Обратните връзки, известни още като "входящи връзки", са връзки от един уебсайт към страница на друг уебсайт.</a:t>
                      </a:r>
                      <a:endParaRPr lang="en-US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От гледна точка на SEO оптимизацията</a:t>
                      </a:r>
                      <a:r>
                        <a:rPr lang="en-US" sz="1200" dirty="0"/>
                        <a:t>,</a:t>
                      </a:r>
                      <a:r>
                        <a:rPr lang="ru-RU" sz="1200" dirty="0"/>
                        <a:t> обратните връзки са основополагащи. Те се разглеждат от търсачките като вот на доверие или потвърждение за съдържанието на даден уебсайт. </a:t>
                      </a:r>
                      <a:endParaRPr lang="en-US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По-големият брой качествени обратни връзки може значително да повиши авторитета на даден сайт и класирането му при търсене. </a:t>
                      </a:r>
                      <a:br>
                        <a:rPr lang="en-US" sz="1200" dirty="0"/>
                      </a:br>
                      <a:br>
                        <a:rPr lang="en-US" sz="1200" dirty="0"/>
                      </a:br>
                      <a:r>
                        <a:rPr lang="bg-BG" sz="1200" dirty="0"/>
                        <a:t>П</a:t>
                      </a:r>
                      <a:r>
                        <a:rPr lang="ru-RU" sz="1200" dirty="0"/>
                        <a:t>ридобиването на качествени обратни връзки е от решаващо значение за повишаване на видимостта при търсене, авторитета на домейна и установяването на онлайн доверие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227114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Как да получим връзки от други сайтове?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18315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1200" dirty="0"/>
                        <a:t>Участвайте или спонсорирайте местни общностнi събития или семинари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1200" dirty="0"/>
                        <a:t>Сътрудничете си с други местни местни бизнеси за съвместни промоции или събития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1200" dirty="0"/>
                        <a:t>Предложете да пишете статии като гост автор за местни блогове или сайтове, специфични за вашата индустрия или вестнници в региона, в който е бизнесът ви.</a:t>
                      </a:r>
                      <a:endParaRPr lang="en-US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4587188"/>
            <a:ext cx="312466" cy="312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1645881"/>
            <a:ext cx="312466" cy="312466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185381" y="880475"/>
            <a:ext cx="10296852" cy="4331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bg2"/>
                </a:solidFill>
                <a:latin typeface="+mj-lt"/>
                <a:ea typeface="Libre Franklin" charset="0"/>
                <a:cs typeface="Libre Franklin" charset="0"/>
              </a:defRPr>
            </a:lvl1pPr>
          </a:lstStyle>
          <a:p>
            <a:r>
              <a:rPr lang="bg-BG" sz="1800" b="0" dirty="0">
                <a:solidFill>
                  <a:schemeClr val="tx2"/>
                </a:solidFill>
              </a:rPr>
              <a:t>Външно СЕО/</a:t>
            </a:r>
            <a:r>
              <a:rPr lang="en-US" sz="1800" b="0" dirty="0">
                <a:solidFill>
                  <a:schemeClr val="tx2"/>
                </a:solidFill>
              </a:rPr>
              <a:t>Off-page SEO</a:t>
            </a:r>
          </a:p>
        </p:txBody>
      </p:sp>
      <p:sp>
        <p:nvSpPr>
          <p:cNvPr id="18" name="Title 14"/>
          <p:cNvSpPr>
            <a:spLocks noGrp="1"/>
          </p:cNvSpPr>
          <p:nvPr>
            <p:ph type="title"/>
          </p:nvPr>
        </p:nvSpPr>
        <p:spPr>
          <a:xfrm>
            <a:off x="1185381" y="336694"/>
            <a:ext cx="10356826" cy="621617"/>
          </a:xfrm>
        </p:spPr>
        <p:txBody>
          <a:bodyPr/>
          <a:lstStyle/>
          <a:p>
            <a:r>
              <a:rPr lang="en-US" dirty="0"/>
              <a:t>Backlinks (Links from 3</a:t>
            </a:r>
            <a:r>
              <a:rPr lang="en-US" baseline="30000" dirty="0"/>
              <a:t>rd</a:t>
            </a:r>
            <a:r>
              <a:rPr lang="en-US" dirty="0"/>
              <a:t> Party Website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9F5029-4816-4AD4-9470-1578C23157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7532" y="1202814"/>
            <a:ext cx="3721291" cy="553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9901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F5AF4-7B7D-E94F-9A12-2744C7836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1568" y="939114"/>
            <a:ext cx="8810635" cy="2434642"/>
          </a:xfrm>
        </p:spPr>
        <p:txBody>
          <a:bodyPr/>
          <a:lstStyle/>
          <a:p>
            <a:r>
              <a:rPr lang="en-US" dirty="0"/>
              <a:t>Offer - $99 Technical SEO Audi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21E2B6-D77A-D142-9223-78F42344992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1600" dirty="0"/>
              <a:t>A SNAPSHOT OF THE GOOGLE ANALYTICS ACTIVITY</a:t>
            </a:r>
          </a:p>
        </p:txBody>
      </p:sp>
    </p:spTree>
    <p:extLst>
      <p:ext uri="{BB962C8B-B14F-4D97-AF65-F5344CB8AC3E}">
        <p14:creationId xmlns:p14="http://schemas.microsoft.com/office/powerpoint/2010/main" val="4594710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2996268"/>
              </p:ext>
            </p:extLst>
          </p:nvPr>
        </p:nvGraphicFramePr>
        <p:xfrm>
          <a:off x="376519" y="1348097"/>
          <a:ext cx="5903096" cy="55687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834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5629262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227114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Определение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77979"/>
                  </a:ext>
                </a:extLst>
              </a:tr>
              <a:tr h="207335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Техническият SEO одит представлява цялостна проверка на техническите аспекти на уебсайта, за да се гарантира, че той е оптимизиран за обхождане и индексиране от търсачките. При него се оценяват елементи като скорост на сайта, достъпнността му на мобилни устройства, както и архитектура на сайта. </a:t>
                      </a:r>
                    </a:p>
                    <a:p>
                      <a:endParaRPr lang="ru-RU" sz="1200" dirty="0"/>
                    </a:p>
                    <a:p>
                      <a:r>
                        <a:rPr lang="ru-RU" sz="1200" dirty="0"/>
                        <a:t>За собствениците на уебсайтове провеждането на технически SEO одит важно, тъй като чрез него се идентифицират потенциални проблеми, които биха могли да възпрепятстват обхождането на сайта от търсачките. </a:t>
                      </a:r>
                      <a:br>
                        <a:rPr lang="ru-RU" sz="1200" dirty="0"/>
                      </a:br>
                      <a:br>
                        <a:rPr lang="ru-RU" sz="1200" dirty="0"/>
                      </a:br>
                      <a:r>
                        <a:rPr lang="ru-RU" sz="1200" dirty="0"/>
                        <a:t>Отстраняването на тези проблеми гарантира, че уебсайтът е лесно достъпен и увеличава максимално потенциала си за класиране в органичните резултати на Гугъл. </a:t>
                      </a:r>
                    </a:p>
                    <a:p>
                      <a:endParaRPr lang="ru-RU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227114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Как да го правите?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18315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200" dirty="0"/>
                        <a:t>Посетете </a:t>
                      </a:r>
                      <a:r>
                        <a:rPr lang="en-US" sz="1200" dirty="0">
                          <a:hlinkClick r:id="rId2"/>
                        </a:rPr>
                        <a:t>https://magurabcs.com/seoaudit</a:t>
                      </a:r>
                      <a:r>
                        <a:rPr lang="bg-BG" sz="1200" dirty="0"/>
                        <a:t> и кликнета на червения </a:t>
                      </a:r>
                      <a:r>
                        <a:rPr lang="en-US" sz="1200" dirty="0"/>
                        <a:t>Donate </a:t>
                      </a:r>
                      <a:r>
                        <a:rPr lang="bg-BG" sz="1200" dirty="0"/>
                        <a:t>бутон и следвайте инструкциите. </a:t>
                      </a:r>
                      <a:endParaRPr lang="en-US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19" y="5055886"/>
            <a:ext cx="312466" cy="312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1645881"/>
            <a:ext cx="312466" cy="312466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185381" y="880475"/>
            <a:ext cx="10296852" cy="4331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bg2"/>
                </a:solidFill>
                <a:latin typeface="+mj-lt"/>
                <a:ea typeface="Libre Franklin" charset="0"/>
                <a:cs typeface="Libre Franklin" charset="0"/>
              </a:defRPr>
            </a:lvl1pPr>
          </a:lstStyle>
          <a:p>
            <a:endParaRPr lang="en-US" sz="1800" b="0" dirty="0">
              <a:solidFill>
                <a:schemeClr val="tx2"/>
              </a:solidFill>
            </a:endParaRPr>
          </a:p>
        </p:txBody>
      </p:sp>
      <p:sp>
        <p:nvSpPr>
          <p:cNvPr id="18" name="Title 14"/>
          <p:cNvSpPr>
            <a:spLocks noGrp="1"/>
          </p:cNvSpPr>
          <p:nvPr>
            <p:ph type="title"/>
          </p:nvPr>
        </p:nvSpPr>
        <p:spPr>
          <a:xfrm>
            <a:off x="1185381" y="336694"/>
            <a:ext cx="10356826" cy="621617"/>
          </a:xfrm>
        </p:spPr>
        <p:txBody>
          <a:bodyPr/>
          <a:lstStyle/>
          <a:p>
            <a:r>
              <a:rPr lang="bg-BG" dirty="0"/>
              <a:t>Технически Одит на Сайта Ви - $99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AA9F83-534C-4268-A314-BDD78939B5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98160" y="1348097"/>
            <a:ext cx="4683112" cy="4368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3340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F5AF4-7B7D-E94F-9A12-2744C7836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1568" y="939114"/>
            <a:ext cx="8810635" cy="2434642"/>
          </a:xfrm>
        </p:spPr>
        <p:txBody>
          <a:bodyPr/>
          <a:lstStyle/>
          <a:p>
            <a:r>
              <a:rPr lang="bg-BG" dirty="0"/>
              <a:t>Въпроси?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21E2B6-D77A-D142-9223-78F42344992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44244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4F9988-0EE0-9B41-BD79-8E54F379C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7583" y="2042267"/>
            <a:ext cx="3160147" cy="3756455"/>
          </a:xfrm>
        </p:spPr>
        <p:txBody>
          <a:bodyPr/>
          <a:lstStyle/>
          <a:p>
            <a:pPr algn="r"/>
            <a:r>
              <a:rPr lang="en-US" dirty="0"/>
              <a:t>Cont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B305FF-C169-A046-9AF7-FA7F9648983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75654" y="1400433"/>
            <a:ext cx="7216346" cy="5040124"/>
          </a:xfrm>
        </p:spPr>
        <p:txBody>
          <a:bodyPr numCol="1" spcCol="457200"/>
          <a:lstStyle/>
          <a:p>
            <a:r>
              <a:rPr lang="en-US" sz="2000" dirty="0">
                <a:solidFill>
                  <a:srgbClr val="929292"/>
                </a:solidFill>
                <a:latin typeface="Libre Franklin Light" pitchFamily="2" charset="77"/>
              </a:rPr>
              <a:t>01.</a:t>
            </a:r>
            <a:r>
              <a:rPr lang="en-US" sz="2000" dirty="0"/>
              <a:t>	   </a:t>
            </a:r>
            <a:r>
              <a:rPr lang="bg-BG" sz="2000" b="1" dirty="0"/>
              <a:t>Какво е СЕО</a:t>
            </a:r>
            <a:endParaRPr lang="en-US" sz="2000" dirty="0">
              <a:solidFill>
                <a:srgbClr val="929292"/>
              </a:solidFill>
              <a:latin typeface="Libre Franklin Light" pitchFamily="2" charset="77"/>
            </a:endParaRPr>
          </a:p>
          <a:p>
            <a:endParaRPr lang="en-US" sz="2000" dirty="0">
              <a:solidFill>
                <a:srgbClr val="929292"/>
              </a:solidFill>
              <a:latin typeface="Libre Franklin Light" pitchFamily="2" charset="77"/>
            </a:endParaRPr>
          </a:p>
          <a:p>
            <a:r>
              <a:rPr lang="en-US" sz="2000" dirty="0">
                <a:solidFill>
                  <a:srgbClr val="929292"/>
                </a:solidFill>
                <a:latin typeface="Libre Franklin Light" pitchFamily="2" charset="77"/>
              </a:rPr>
              <a:t>02.</a:t>
            </a:r>
            <a:r>
              <a:rPr lang="en-US" sz="2000" dirty="0"/>
              <a:t>	   </a:t>
            </a:r>
            <a:r>
              <a:rPr lang="bg-BG" sz="2000" b="1" dirty="0"/>
              <a:t>Вътрешно СЕО/</a:t>
            </a:r>
            <a:r>
              <a:rPr lang="en-US" sz="2000" b="1" dirty="0"/>
              <a:t>On-page SEO</a:t>
            </a:r>
          </a:p>
          <a:p>
            <a:endParaRPr lang="en-US" sz="2000" b="1" dirty="0"/>
          </a:p>
          <a:p>
            <a:r>
              <a:rPr lang="en-US" sz="2000" dirty="0">
                <a:solidFill>
                  <a:srgbClr val="929292"/>
                </a:solidFill>
                <a:latin typeface="Libre Franklin Light" pitchFamily="2" charset="77"/>
              </a:rPr>
              <a:t>03.</a:t>
            </a:r>
            <a:r>
              <a:rPr lang="en-US" sz="2000" dirty="0"/>
              <a:t>	   </a:t>
            </a:r>
            <a:r>
              <a:rPr lang="bg-BG" sz="2000" b="1" dirty="0"/>
              <a:t>Външно СЕО/</a:t>
            </a:r>
            <a:r>
              <a:rPr lang="en-US" sz="2000" b="1" dirty="0"/>
              <a:t>Off-page SEO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rgbClr val="929292"/>
                </a:solidFill>
                <a:latin typeface="Libre Franklin Light" pitchFamily="2" charset="77"/>
              </a:rPr>
              <a:t>04.</a:t>
            </a:r>
            <a:r>
              <a:rPr lang="en-US" sz="2000" dirty="0"/>
              <a:t>	   </a:t>
            </a:r>
            <a:r>
              <a:rPr lang="bg-BG" sz="2000" b="1" dirty="0"/>
              <a:t>СЕО Одит</a:t>
            </a:r>
            <a:endParaRPr lang="en-US" sz="2000" b="1" dirty="0"/>
          </a:p>
          <a:p>
            <a:endParaRPr lang="en-US" sz="2000" b="1" dirty="0"/>
          </a:p>
          <a:p>
            <a:r>
              <a:rPr lang="en-US" sz="2000" dirty="0">
                <a:solidFill>
                  <a:srgbClr val="929292"/>
                </a:solidFill>
                <a:latin typeface="Libre Franklin Light" pitchFamily="2" charset="77"/>
              </a:rPr>
              <a:t>05.</a:t>
            </a:r>
            <a:r>
              <a:rPr lang="en-US" sz="2000" dirty="0"/>
              <a:t>	   </a:t>
            </a:r>
            <a:r>
              <a:rPr lang="bg-BG" sz="2000" b="1" dirty="0"/>
              <a:t>Въпроси?</a:t>
            </a:r>
            <a:endParaRPr lang="en-US" sz="2000" b="1" dirty="0"/>
          </a:p>
          <a:p>
            <a:endParaRPr lang="en-US" sz="2000" b="1" dirty="0"/>
          </a:p>
          <a:p>
            <a:endParaRPr lang="en-US" sz="2000" b="1" dirty="0"/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080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8105345"/>
              </p:ext>
            </p:extLst>
          </p:nvPr>
        </p:nvGraphicFramePr>
        <p:xfrm>
          <a:off x="376519" y="1348097"/>
          <a:ext cx="5076014" cy="4789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3061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4562953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250407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448762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Какво е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EO?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77979"/>
                  </a:ext>
                </a:extLst>
              </a:tr>
              <a:tr h="121165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O (Search Engine Optimization) </a:t>
                      </a:r>
                      <a:r>
                        <a:rPr kumimoji="0" lang="bg-B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или оптимизаране на уебсайтиве за търсачки е процесът, който води до повишаване на позициите на сайтове в търсачки като Гугъл и Бинг чрез комбинация от тактики на ниво страница на сайта (вътрешно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o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/on-page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o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)</a:t>
                      </a:r>
                      <a:r>
                        <a:rPr kumimoji="0" lang="bg-B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и извън тях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(off-page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o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)</a:t>
                      </a:r>
                      <a:r>
                        <a:rPr kumimoji="0" lang="bg-B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250407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448762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Защо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EO</a:t>
                      </a:r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 е Важно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?</a:t>
                      </a: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201943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O (Оптимизация за търсачки) е жизненоважна за малките бизнеси. Тя увеличава онлайн видимостта, привлича органичен трафик и укрепва доверието към марката. С SEO, малките бизнеси могат да се конкурират ефективно с по-големите, осигурявайки висока възвръщаемост на инвестициите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05" y="3742781"/>
            <a:ext cx="312466" cy="312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05" y="1645881"/>
            <a:ext cx="312466" cy="312466"/>
          </a:xfrm>
          <a:prstGeom prst="rect">
            <a:avLst/>
          </a:prstGeom>
        </p:spPr>
      </p:pic>
      <p:sp>
        <p:nvSpPr>
          <p:cNvPr id="18" name="Title 14"/>
          <p:cNvSpPr>
            <a:spLocks noGrp="1"/>
          </p:cNvSpPr>
          <p:nvPr>
            <p:ph type="title"/>
          </p:nvPr>
        </p:nvSpPr>
        <p:spPr>
          <a:xfrm>
            <a:off x="1185381" y="336694"/>
            <a:ext cx="10356826" cy="621617"/>
          </a:xfrm>
        </p:spPr>
        <p:txBody>
          <a:bodyPr/>
          <a:lstStyle/>
          <a:p>
            <a:r>
              <a:rPr lang="bg-BG" dirty="0"/>
              <a:t>Какво е СЕО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D7E1771-17BD-4E2A-83AE-B844FBB2AF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820" y="958311"/>
            <a:ext cx="5250736" cy="5184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9577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/>
              <a:t>Вие Виждате Това ↓</a:t>
            </a:r>
            <a:r>
              <a:rPr lang="en-US" dirty="0"/>
              <a:t>                       </a:t>
            </a:r>
            <a:r>
              <a:rPr lang="bg-BG" dirty="0"/>
              <a:t>    Гугъл Вижда Това ↓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pared by Americaneagle.com. All contents proprietary and confidential. ©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4</a:t>
            </a:fld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5256742"/>
              </p:ext>
            </p:extLst>
          </p:nvPr>
        </p:nvGraphicFramePr>
        <p:xfrm>
          <a:off x="917583" y="1453006"/>
          <a:ext cx="5178417" cy="47934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075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4899342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182562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205090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Google’s algorithms is an algorithm. What that means is that Google can’t read like people do. That’s great news for you? Why? Because Google doesn’t care that:</a:t>
                      </a:r>
                    </a:p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342900" marR="0" lvl="0" indent="-34290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AutoNum type="arabicPeriod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You are not a native speaker</a:t>
                      </a:r>
                    </a:p>
                    <a:p>
                      <a:pPr marL="342900" marR="0" lvl="0" indent="-34290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AutoNum type="arabicPeriod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peak English with accent</a:t>
                      </a:r>
                    </a:p>
                    <a:p>
                      <a:pPr marL="342900" marR="0" lvl="0" indent="-34290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AutoNum type="arabicPeriod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here are typos in the content on your </a:t>
                      </a: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websote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182562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365123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4572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/>
                      </a:pPr>
                      <a:r>
                        <a:rPr lang="en-US" sz="1600" b="1" kern="0" dirty="0">
                          <a:solidFill>
                            <a:srgbClr val="63666A"/>
                          </a:solidFill>
                          <a:ea typeface="ＭＳ Ｐゴシック" charset="0"/>
                        </a:rPr>
                        <a:t>To further grow keyword rankings and organic search traffic, we recommend the following:</a:t>
                      </a: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151442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. </a:t>
                      </a:r>
                    </a:p>
                    <a:p>
                      <a:r>
                        <a:rPr lang="en-US" sz="1600" baseline="0" dirty="0"/>
                        <a:t>2. </a:t>
                      </a:r>
                    </a:p>
                    <a:p>
                      <a:r>
                        <a:rPr lang="en-US" sz="1600" baseline="0" dirty="0"/>
                        <a:t>3. </a:t>
                      </a:r>
                    </a:p>
                    <a:p>
                      <a:endParaRPr lang="en-US" sz="1600" baseline="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0" dirty="0">
                          <a:solidFill>
                            <a:srgbClr val="63666A"/>
                          </a:solidFill>
                          <a:ea typeface="ＭＳ Ｐゴシック" charset="0"/>
                        </a:rPr>
                        <a:t>View more details on the action items recommended on the following pages.</a:t>
                      </a:r>
                    </a:p>
                    <a:p>
                      <a:endParaRPr lang="en-US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D907CA3-001A-45A5-BE9E-6D2D7AC3FC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7584" y="1492086"/>
            <a:ext cx="5472199" cy="47229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F8CE4D-62D2-4B95-8FAB-2D7E8AD323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9783" y="1510894"/>
            <a:ext cx="5115131" cy="4735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2924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F5AF4-7B7D-E94F-9A12-2744C7836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1568" y="939114"/>
            <a:ext cx="8810635" cy="2434642"/>
          </a:xfrm>
        </p:spPr>
        <p:txBody>
          <a:bodyPr/>
          <a:lstStyle/>
          <a:p>
            <a:r>
              <a:rPr lang="en-US" dirty="0"/>
              <a:t>On-Page </a:t>
            </a:r>
            <a:r>
              <a:rPr lang="bg-BG" dirty="0"/>
              <a:t>Фактори/Вътрешно СЕ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1588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228739"/>
              </p:ext>
            </p:extLst>
          </p:nvPr>
        </p:nvGraphicFramePr>
        <p:xfrm>
          <a:off x="376518" y="1348097"/>
          <a:ext cx="5539539" cy="5338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9912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4979627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250407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448762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Какво е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 On-Page SEO Optimization</a:t>
                      </a:r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/Вътрешно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СЕО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?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77979"/>
                  </a:ext>
                </a:extLst>
              </a:tr>
              <a:tr h="121165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/>
                        <a:t>On-page SEO</a:t>
                      </a:r>
                      <a:r>
                        <a:rPr lang="bg-BG" sz="1200" dirty="0"/>
                        <a:t> </a:t>
                      </a:r>
                      <a:r>
                        <a:rPr lang="en-US" sz="1200" dirty="0"/>
                        <a:t>optimization </a:t>
                      </a:r>
                      <a:r>
                        <a:rPr lang="bg-BG" sz="1200" dirty="0"/>
                        <a:t>или вътрешно СЕО е процесът на оптимизиране на елементи на страница от уебсайт, за да се подобрят органичните и позиции в търсачките. Най-важните елементи на ниво страница са</a:t>
                      </a:r>
                      <a:r>
                        <a:rPr lang="en-US" sz="1200" dirty="0"/>
                        <a:t>:</a:t>
                      </a:r>
                      <a:br>
                        <a:rPr lang="en-US" sz="1200" dirty="0"/>
                      </a:br>
                      <a:endParaRPr lang="en-US" sz="1200" dirty="0"/>
                    </a:p>
                    <a:p>
                      <a:pPr marL="171450" marR="0" lvl="0" indent="-17145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bg-BG" sz="1200" dirty="0"/>
                        <a:t>Мета </a:t>
                      </a:r>
                      <a:r>
                        <a:rPr lang="en-US" sz="1200" dirty="0"/>
                        <a:t>title/Page title</a:t>
                      </a:r>
                      <a:endParaRPr lang="de-DE" sz="1200" dirty="0"/>
                    </a:p>
                    <a:p>
                      <a:pPr marL="171450" marR="0" lvl="0" indent="-17145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200" dirty="0"/>
                        <a:t>H1 tag</a:t>
                      </a:r>
                    </a:p>
                    <a:p>
                      <a:pPr marL="171450" marR="0" lvl="0" indent="-17145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200" dirty="0"/>
                        <a:t>Paragraph tags </a:t>
                      </a:r>
                    </a:p>
                    <a:p>
                      <a:pPr marL="171450" marR="0" lvl="0" indent="-17145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200" dirty="0"/>
                        <a:t>URL</a:t>
                      </a:r>
                    </a:p>
                    <a:p>
                      <a:pPr marL="171450" marR="0" lvl="0" indent="-17145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200" dirty="0"/>
                        <a:t>H2 tags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250407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448762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Защо Процесът на Вътрешно Оптимизиране е Важен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?</a:t>
                      </a: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201943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</a:br>
                      <a:r>
                        <a:rPr kumimoji="0" lang="bg-B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Просесът на вътрешно оптимизаране помага на търсачките да намерят, индексират и разберат съдържанието на отделната страница и сайта като цяло. </a:t>
                      </a:r>
                      <a:br>
                        <a:rPr kumimoji="0" lang="bg-B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</a:b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0" marR="0" lvl="0" indent="0" algn="l" defTabSz="2834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bg-BG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В резултат на това търсачките могат да покажат тези страници за търсения, които са адекватни на съдържанието им. 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234" y="4200937"/>
            <a:ext cx="312466" cy="312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234" y="1645881"/>
            <a:ext cx="312466" cy="312466"/>
          </a:xfrm>
          <a:prstGeom prst="rect">
            <a:avLst/>
          </a:prstGeom>
        </p:spPr>
      </p:pic>
      <p:sp>
        <p:nvSpPr>
          <p:cNvPr id="18" name="Title 14"/>
          <p:cNvSpPr>
            <a:spLocks noGrp="1"/>
          </p:cNvSpPr>
          <p:nvPr>
            <p:ph type="title"/>
          </p:nvPr>
        </p:nvSpPr>
        <p:spPr>
          <a:xfrm>
            <a:off x="1185381" y="336694"/>
            <a:ext cx="10356826" cy="621617"/>
          </a:xfrm>
        </p:spPr>
        <p:txBody>
          <a:bodyPr/>
          <a:lstStyle/>
          <a:p>
            <a:r>
              <a:rPr lang="bg-BG" dirty="0"/>
              <a:t>Вътрешно СЕО/</a:t>
            </a:r>
            <a:r>
              <a:rPr lang="en-US" dirty="0"/>
              <a:t>On-Page SE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CA8687F-DB66-4810-B04C-66BCA97FF9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2915" y="1228725"/>
            <a:ext cx="6276975" cy="440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16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0084530"/>
              </p:ext>
            </p:extLst>
          </p:nvPr>
        </p:nvGraphicFramePr>
        <p:xfrm>
          <a:off x="376519" y="1348097"/>
          <a:ext cx="6024282" cy="52029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456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5744826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227114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Определение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77979"/>
                  </a:ext>
                </a:extLst>
              </a:tr>
              <a:tr h="207335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Тагът за заглавие или Title Tag е част от HTML код, който указва заглавието на уеб страница, което се показва в органичните резултати при търсене, публикациите в социалните мрежи и табовете на браузъра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Оптимизирането на вашите title tags е един от най-лесните и бързи начини да подобрите класиране на страници от сайта ви в Гугъл. </a:t>
                      </a:r>
                      <a:br>
                        <a:rPr lang="ru-RU" sz="1200" dirty="0"/>
                      </a:br>
                      <a:br>
                        <a:rPr lang="ru-RU" sz="1200" dirty="0"/>
                      </a:br>
                      <a:r>
                        <a:rPr lang="ru-RU" sz="1200" dirty="0"/>
                        <a:t>Защо?</a:t>
                      </a:r>
                      <a:br>
                        <a:rPr lang="ru-RU" sz="1200" dirty="0"/>
                      </a:br>
                      <a:br>
                        <a:rPr lang="ru-RU" sz="1200" dirty="0"/>
                      </a:br>
                      <a:r>
                        <a:rPr lang="ru-RU" sz="1200" dirty="0"/>
                        <a:t>Защото Гугъл използва думите в тях, за да определи темата на страцата и ключовите фрази, за коитп да я показва. 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227114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Как да оптимизираме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title tags?</a:t>
                      </a: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18315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. Уверете се, че заглавието отразява съдържанието на страницата.</a:t>
                      </a:r>
                    </a:p>
                    <a:p>
                      <a:r>
                        <a:rPr lang="ru-RU" sz="1200" dirty="0"/>
                        <a:t>2. Поставете основните ключови думи в началото на заглавието.</a:t>
                      </a:r>
                    </a:p>
                    <a:p>
                      <a:r>
                        <a:rPr lang="ru-RU" sz="1200" dirty="0"/>
                        <a:t>3. Всяка страница трябва да има уникално заглавие.</a:t>
                      </a:r>
                    </a:p>
                    <a:p>
                      <a:r>
                        <a:rPr lang="ru-RU" sz="1200" dirty="0"/>
                        <a:t>4. Добавете марката си в края.</a:t>
                      </a:r>
                    </a:p>
                    <a:p>
                      <a:r>
                        <a:rPr lang="ru-RU" sz="1200" dirty="0"/>
                        <a:t>5. Уверете се, че заглавието се чете естествено.</a:t>
                      </a:r>
                      <a:endParaRPr lang="en-US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4318129"/>
            <a:ext cx="312466" cy="312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1645881"/>
            <a:ext cx="312466" cy="312466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185381" y="880475"/>
            <a:ext cx="10296852" cy="4331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bg2"/>
                </a:solidFill>
                <a:latin typeface="+mj-lt"/>
                <a:ea typeface="Libre Franklin" charset="0"/>
                <a:cs typeface="Libre Franklin" charset="0"/>
              </a:defRPr>
            </a:lvl1pPr>
          </a:lstStyle>
          <a:p>
            <a:r>
              <a:rPr lang="bg-BG" sz="1800" b="0" dirty="0">
                <a:solidFill>
                  <a:schemeClr val="tx2"/>
                </a:solidFill>
              </a:rPr>
              <a:t>Вътрешно СЕО</a:t>
            </a:r>
            <a:endParaRPr lang="en-US" sz="1800" b="0" dirty="0">
              <a:solidFill>
                <a:schemeClr val="tx2"/>
              </a:solidFill>
            </a:endParaRPr>
          </a:p>
        </p:txBody>
      </p:sp>
      <p:sp>
        <p:nvSpPr>
          <p:cNvPr id="18" name="Title 14"/>
          <p:cNvSpPr>
            <a:spLocks noGrp="1"/>
          </p:cNvSpPr>
          <p:nvPr>
            <p:ph type="title"/>
          </p:nvPr>
        </p:nvSpPr>
        <p:spPr>
          <a:xfrm>
            <a:off x="1185381" y="336694"/>
            <a:ext cx="10356826" cy="621617"/>
          </a:xfrm>
        </p:spPr>
        <p:txBody>
          <a:bodyPr/>
          <a:lstStyle/>
          <a:p>
            <a:r>
              <a:rPr lang="bg-BG" dirty="0"/>
              <a:t>Етикет за Заглавие/</a:t>
            </a:r>
            <a:r>
              <a:rPr lang="en-US" dirty="0"/>
              <a:t>Title Ta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49681E-A134-401D-BE3F-3CEB68FB7B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2320" y="1313583"/>
            <a:ext cx="5086611" cy="490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6462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3501730"/>
              </p:ext>
            </p:extLst>
          </p:nvPr>
        </p:nvGraphicFramePr>
        <p:xfrm>
          <a:off x="376518" y="1348097"/>
          <a:ext cx="6079365" cy="52029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011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5797354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227114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Определение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77979"/>
                  </a:ext>
                </a:extLst>
              </a:tr>
              <a:tr h="207335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H1 етикетът</a:t>
                      </a:r>
                      <a:r>
                        <a:rPr lang="en-US" sz="1200" dirty="0"/>
                        <a:t>/H1 tag</a:t>
                      </a:r>
                      <a:r>
                        <a:rPr lang="ru-RU" sz="1200" dirty="0"/>
                        <a:t> е HTML елемент, използван за обозначаване на основното заглавие на уеб страница. </a:t>
                      </a:r>
                      <a:br>
                        <a:rPr lang="en-US" sz="1200" dirty="0"/>
                      </a:br>
                      <a:br>
                        <a:rPr lang="en-US" sz="1200" dirty="0"/>
                      </a:br>
                      <a:r>
                        <a:rPr lang="en-US" sz="1200" dirty="0"/>
                        <a:t>1. </a:t>
                      </a:r>
                      <a:r>
                        <a:rPr lang="ru-RU" sz="1200" dirty="0"/>
                        <a:t>H1 етикетите играят ключова роля в SEO. Търсачките използват тези етикети, за да определят съдържанието на уеб страница.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2. </a:t>
                      </a:r>
                      <a:r>
                        <a:rPr lang="ru-RU" sz="1200" dirty="0"/>
                        <a:t>H1 етикетът помага на потребителите да разберат за какво става дума на страницата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3. 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H1 етикетите предоставят структура на вашето съдържание.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4. H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636669"/>
                          </a:solidFill>
                          <a:effectLst/>
                          <a:uLnTx/>
                          <a:uFillTx/>
                          <a:latin typeface="+mn-lt"/>
                        </a:rPr>
                        <a:t>1 етикетите помагат на потребителите с увреждания, използващи четци на екрана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227114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Как да оптимизираме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H1 </a:t>
                      </a:r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етикетите?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18315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. Релевантност: Уверете се, че H1 етикетът точно отразява основната тема на страницата.</a:t>
                      </a:r>
                    </a:p>
                    <a:p>
                      <a:r>
                        <a:rPr lang="ru-RU" sz="1200" dirty="0"/>
                        <a:t>2. Поставяне на ключова дума: Включете основната си ключова дума в началото на H1 етикета.</a:t>
                      </a:r>
                    </a:p>
                    <a:p>
                      <a:r>
                        <a:rPr lang="ru-RU" sz="1200" dirty="0"/>
                        <a:t>3. Уникални заглавия: Всяка страница на вашия уебсайт трябва да има уникален H1 етикет.</a:t>
                      </a:r>
                      <a:endParaRPr lang="en-US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4406264"/>
            <a:ext cx="312466" cy="312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1645881"/>
            <a:ext cx="312466" cy="312466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185381" y="880475"/>
            <a:ext cx="10296852" cy="4331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bg2"/>
                </a:solidFill>
                <a:latin typeface="+mj-lt"/>
                <a:ea typeface="Libre Franklin" charset="0"/>
                <a:cs typeface="Libre Franklin" charset="0"/>
              </a:defRPr>
            </a:lvl1pPr>
          </a:lstStyle>
          <a:p>
            <a:r>
              <a:rPr lang="bg-BG" sz="1800" b="0" dirty="0">
                <a:solidFill>
                  <a:schemeClr val="tx2"/>
                </a:solidFill>
              </a:rPr>
              <a:t>Вътрешно СЕО</a:t>
            </a:r>
            <a:endParaRPr lang="en-US" sz="1800" b="0" dirty="0">
              <a:solidFill>
                <a:schemeClr val="tx2"/>
              </a:solidFill>
            </a:endParaRPr>
          </a:p>
          <a:p>
            <a:endParaRPr lang="en-US" sz="1800" b="0" dirty="0">
              <a:solidFill>
                <a:schemeClr val="tx2"/>
              </a:solidFill>
            </a:endParaRPr>
          </a:p>
        </p:txBody>
      </p:sp>
      <p:sp>
        <p:nvSpPr>
          <p:cNvPr id="18" name="Title 14"/>
          <p:cNvSpPr>
            <a:spLocks noGrp="1"/>
          </p:cNvSpPr>
          <p:nvPr>
            <p:ph type="title"/>
          </p:nvPr>
        </p:nvSpPr>
        <p:spPr>
          <a:xfrm>
            <a:off x="1185381" y="336694"/>
            <a:ext cx="10356826" cy="621617"/>
          </a:xfrm>
        </p:spPr>
        <p:txBody>
          <a:bodyPr/>
          <a:lstStyle/>
          <a:p>
            <a:r>
              <a:rPr lang="en-US" dirty="0"/>
              <a:t>H1 </a:t>
            </a:r>
            <a:r>
              <a:rPr lang="bg-BG" dirty="0"/>
              <a:t>Етикет/</a:t>
            </a:r>
            <a:r>
              <a:rPr lang="en-US" dirty="0"/>
              <a:t>H1 Ta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CC4EE1-BC4D-4BCB-8728-360284007A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5477" y="1348097"/>
            <a:ext cx="5258139" cy="504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952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49929"/>
              </p:ext>
            </p:extLst>
          </p:nvPr>
        </p:nvGraphicFramePr>
        <p:xfrm>
          <a:off x="376519" y="1348097"/>
          <a:ext cx="5892080" cy="5385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323">
                  <a:extLst>
                    <a:ext uri="{9D8B030D-6E8A-4147-A177-3AD203B41FA5}">
                      <a16:colId xmlns:a16="http://schemas.microsoft.com/office/drawing/2014/main" val="207748830"/>
                    </a:ext>
                  </a:extLst>
                </a:gridCol>
                <a:gridCol w="5618757">
                  <a:extLst>
                    <a:ext uri="{9D8B030D-6E8A-4147-A177-3AD203B41FA5}">
                      <a16:colId xmlns:a16="http://schemas.microsoft.com/office/drawing/2014/main" val="66181162"/>
                    </a:ext>
                  </a:extLst>
                </a:gridCol>
              </a:tblGrid>
              <a:tr h="227114"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9724462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Определение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77979"/>
                  </a:ext>
                </a:extLst>
              </a:tr>
              <a:tr h="207335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Етикетите за параграфи, представени в HTML като &lt;p&gt;...&lt;/p&gt;, се използват за дефиниране и разделяне на параграфи в съдържанието</a:t>
                      </a:r>
                      <a:r>
                        <a:rPr lang="en-US" sz="1200" dirty="0"/>
                        <a:t> </a:t>
                      </a:r>
                      <a:r>
                        <a:rPr lang="bg-BG" sz="1200" dirty="0"/>
                        <a:t>на страницата</a:t>
                      </a:r>
                      <a:r>
                        <a:rPr lang="ru-RU" sz="1200" dirty="0"/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ru-RU" sz="1200" dirty="0"/>
                      </a:br>
                      <a:r>
                        <a:rPr lang="ru-RU" sz="1200" b="1" dirty="0"/>
                        <a:t>Значение за </a:t>
                      </a:r>
                      <a:r>
                        <a:rPr lang="en-US" sz="1200" b="1" dirty="0"/>
                        <a:t>SEO:</a:t>
                      </a:r>
                      <a:br>
                        <a:rPr lang="ru-RU" sz="1200" dirty="0"/>
                      </a:br>
                      <a:br>
                        <a:rPr lang="ru-RU" sz="1200" dirty="0"/>
                      </a:br>
                      <a:r>
                        <a:rPr lang="ru-RU" sz="1200" dirty="0"/>
                        <a:t>1. Структура на съдържанието: Търсачките ценят добре структурирано съдържание. Използването на етикети за параграфи помага за организирането на съдържанието ви в отделни секции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2. Потребителски опит: Добре структурираното съдържание улеснява четимостта. Това може да намали степента на отпадане на потребителите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3. Семантично значение: HTML етикетите предоставят семантично значение на уеб съдържанието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36669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36498"/>
                  </a:ext>
                </a:extLst>
              </a:tr>
              <a:tr h="227114"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0397887"/>
                  </a:ext>
                </a:extLst>
              </a:tr>
              <a:tr h="407019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bg-BG" sz="1400" b="1" dirty="0">
                          <a:solidFill>
                            <a:schemeClr val="tx1"/>
                          </a:solidFill>
                        </a:rPr>
                        <a:t>Как да оптимизираме етикетите за параграфи/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h1 tags</a:t>
                      </a:r>
                    </a:p>
                  </a:txBody>
                  <a:tcPr anchor="ctr">
                    <a:lnB w="127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44971"/>
                  </a:ext>
                </a:extLst>
              </a:tr>
              <a:tr h="18315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. Уверете се, че съдържанието е релевантно за темата на страницата.</a:t>
                      </a:r>
                    </a:p>
                    <a:p>
                      <a:r>
                        <a:rPr lang="ru-RU" sz="1200" dirty="0"/>
                        <a:t>2. Използвайте ключови думи по естествен начин в параграфите.</a:t>
                      </a:r>
                    </a:p>
                    <a:p>
                      <a:r>
                        <a:rPr lang="ru-RU" sz="1200" dirty="0"/>
                        <a:t>3. Параграфите трябва да са сравнително кратки и лесни за четене.</a:t>
                      </a:r>
                      <a:endParaRPr lang="en-US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324310"/>
                  </a:ext>
                </a:extLst>
              </a:tr>
            </a:tbl>
          </a:graphicData>
        </a:graphic>
      </p:graphicFrame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4587188"/>
            <a:ext cx="312466" cy="312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241FA14-293F-264D-9E10-FC17E3372F25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72" y="1645881"/>
            <a:ext cx="312466" cy="312466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185381" y="880475"/>
            <a:ext cx="10296852" cy="4331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bg2"/>
                </a:solidFill>
                <a:latin typeface="+mj-lt"/>
                <a:ea typeface="Libre Franklin" charset="0"/>
                <a:cs typeface="Libre Franklin" charset="0"/>
              </a:defRPr>
            </a:lvl1pPr>
          </a:lstStyle>
          <a:p>
            <a:r>
              <a:rPr lang="bg-BG" sz="1800" b="0" dirty="0">
                <a:solidFill>
                  <a:schemeClr val="tx2"/>
                </a:solidFill>
              </a:rPr>
              <a:t>Вътрешно СЕО</a:t>
            </a:r>
            <a:endParaRPr lang="en-US" sz="1800" b="0" dirty="0">
              <a:solidFill>
                <a:schemeClr val="tx2"/>
              </a:solidFill>
            </a:endParaRPr>
          </a:p>
          <a:p>
            <a:endParaRPr lang="en-US" sz="1800" b="0" dirty="0">
              <a:solidFill>
                <a:schemeClr val="tx2"/>
              </a:solidFill>
            </a:endParaRPr>
          </a:p>
        </p:txBody>
      </p:sp>
      <p:sp>
        <p:nvSpPr>
          <p:cNvPr id="18" name="Title 14"/>
          <p:cNvSpPr>
            <a:spLocks noGrp="1"/>
          </p:cNvSpPr>
          <p:nvPr>
            <p:ph type="title"/>
          </p:nvPr>
        </p:nvSpPr>
        <p:spPr>
          <a:xfrm>
            <a:off x="1185381" y="336694"/>
            <a:ext cx="10356826" cy="621617"/>
          </a:xfrm>
        </p:spPr>
        <p:txBody>
          <a:bodyPr/>
          <a:lstStyle/>
          <a:p>
            <a:r>
              <a:rPr lang="en-US" dirty="0"/>
              <a:t>Paragraph Tag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65C9C15-6F0B-40CD-8936-C7673958D7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3794" y="1348097"/>
            <a:ext cx="5608477" cy="20759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6B9F5FC-9989-4941-AC2E-78A6775772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71571" y="3458532"/>
            <a:ext cx="5600700" cy="268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87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9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6"/>
  <p:tag name="MIO_HDS" val="True"/>
  <p:tag name="MIO_SKIPVERSION" val="01.01.0001 00:00:00"/>
  <p:tag name="MIO_EKGUID" val="5c2e20fd-1a3a-4296-8bd5-2c5704fa0d6f"/>
  <p:tag name="MIO_UPDATE" val="True"/>
  <p:tag name="MIO_VERSION" val="28.02.2018 16:32:00"/>
  <p:tag name="MIO_DBID" val="686287CC-95DD-4812-B5BE-5439FD9C494D"/>
  <p:tag name="MIO_LASTDOWNLOADED" val="28.02.2018 13:31:57"/>
  <p:tag name="MIO_OBJECTNAME" val="AE Theme 2018"/>
  <p:tag name="MIO_LASTEDITORNAME" val="Johanna "/>
  <p:tag name="MIO_CDID" val="d30371fb-bd2b-4816-a0ce-bd6a1479ab6b"/>
  <p:tag name="MIO_PRESI_FIRST_SLIDENUMB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9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6"/>
  <p:tag name="MIO_HDS" val="True"/>
  <p:tag name="MIO_SKIPVERSION" val="01.01.0001 00:00:00"/>
  <p:tag name="MIO_EKGUID" val="5c2e20fd-1a3a-4296-8bd5-2c5704fa0d6f"/>
  <p:tag name="MIO_UPDATE" val="True"/>
  <p:tag name="MIO_VERSION" val="28.02.2018 16:32:00"/>
  <p:tag name="MIO_DBID" val="686287CC-95DD-4812-B5BE-5439FD9C494D"/>
  <p:tag name="MIO_LASTDOWNLOADED" val="28.02.2018 13:31:57"/>
  <p:tag name="MIO_OBJECTNAME" val="AE Theme 2018"/>
  <p:tag name="MIO_LASTEDITORNAME" val="Johanna "/>
  <p:tag name="MIO_CDID" val="d30371fb-bd2b-4816-a0ce-bd6a1479ab6b"/>
  <p:tag name="MIO_PRESI_FIRST_SLIDENUMBER" val="1"/>
</p:tagLst>
</file>

<file path=ppt/theme/theme1.xml><?xml version="1.0" encoding="utf-8"?>
<a:theme xmlns:a="http://schemas.openxmlformats.org/drawingml/2006/main" name="AE Theme 2018">
  <a:themeElements>
    <a:clrScheme name="AE Brand Theme 2018 v1">
      <a:dk1>
        <a:srgbClr val="636669"/>
      </a:dk1>
      <a:lt1>
        <a:srgbClr val="FFFFFF"/>
      </a:lt1>
      <a:dk2>
        <a:srgbClr val="C8102E"/>
      </a:dk2>
      <a:lt2>
        <a:srgbClr val="003057"/>
      </a:lt2>
      <a:accent1>
        <a:srgbClr val="0099D8"/>
      </a:accent1>
      <a:accent2>
        <a:srgbClr val="43B02A"/>
      </a:accent2>
      <a:accent3>
        <a:srgbClr val="FFCD00"/>
      </a:accent3>
      <a:accent4>
        <a:srgbClr val="FF8200"/>
      </a:accent4>
      <a:accent5>
        <a:srgbClr val="EF416F"/>
      </a:accent5>
      <a:accent6>
        <a:srgbClr val="6D2077"/>
      </a:accent6>
      <a:hlink>
        <a:srgbClr val="003057"/>
      </a:hlink>
      <a:folHlink>
        <a:srgbClr val="003057"/>
      </a:folHlink>
    </a:clrScheme>
    <a:fontScheme name="AE Brand Font">
      <a:majorFont>
        <a:latin typeface="Libre Franklin"/>
        <a:ea typeface=""/>
        <a:cs typeface=""/>
      </a:majorFont>
      <a:minorFont>
        <a:latin typeface="Libre Frankl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defTabSz="283464">
          <a:defRPr dirty="0" err="1" smtClean="0">
            <a:latin typeface="Libre Franklin" charset="0"/>
            <a:ea typeface="Libre Franklin" charset="0"/>
            <a:cs typeface="Libre Franklin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E_PPT_Template" id="{3D64213A-8DDC-41C0-B292-D9D3D2675C07}" vid="{86EBD47A-9439-4B31-BC74-2CF6E2D8DB2A}"/>
    </a:ext>
  </a:extLst>
</a:theme>
</file>

<file path=ppt/theme/theme2.xml><?xml version="1.0" encoding="utf-8"?>
<a:theme xmlns:a="http://schemas.openxmlformats.org/drawingml/2006/main" name="1_AE Theme 2018">
  <a:themeElements>
    <a:clrScheme name="AE Brand Theme 2018 v1">
      <a:dk1>
        <a:srgbClr val="636669"/>
      </a:dk1>
      <a:lt1>
        <a:srgbClr val="FFFFFF"/>
      </a:lt1>
      <a:dk2>
        <a:srgbClr val="C8102E"/>
      </a:dk2>
      <a:lt2>
        <a:srgbClr val="003057"/>
      </a:lt2>
      <a:accent1>
        <a:srgbClr val="0099D8"/>
      </a:accent1>
      <a:accent2>
        <a:srgbClr val="43B02A"/>
      </a:accent2>
      <a:accent3>
        <a:srgbClr val="FFCD00"/>
      </a:accent3>
      <a:accent4>
        <a:srgbClr val="FF8200"/>
      </a:accent4>
      <a:accent5>
        <a:srgbClr val="EF416F"/>
      </a:accent5>
      <a:accent6>
        <a:srgbClr val="6D2077"/>
      </a:accent6>
      <a:hlink>
        <a:srgbClr val="003057"/>
      </a:hlink>
      <a:folHlink>
        <a:srgbClr val="003057"/>
      </a:folHlink>
    </a:clrScheme>
    <a:fontScheme name="AE Brand Font">
      <a:majorFont>
        <a:latin typeface="Libre Franklin"/>
        <a:ea typeface=""/>
        <a:cs typeface=""/>
      </a:majorFont>
      <a:minorFont>
        <a:latin typeface="Libre Frankl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defTabSz="283464">
          <a:defRPr dirty="0" err="1" smtClean="0">
            <a:latin typeface="Libre Franklin" charset="0"/>
            <a:ea typeface="Libre Franklin" charset="0"/>
            <a:cs typeface="Libre Franklin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E_PPT_Template" id="{3D64213A-8DDC-41C0-B292-D9D3D2675C07}" vid="{86EBD47A-9439-4B31-BC74-2CF6E2D8DB2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Control xmlns="http://schemas.microsoft.com/VisualStudio/2011/storyboarding/control">
  <Id Name="System.Storyboarding.Common.MousePointer" Revision="1" Stencil="System.Storyboarding.Common" StencilVersion="0.1"/>
</Control>
</file>

<file path=customXml/itemProps1.xml><?xml version="1.0" encoding="utf-8"?>
<ds:datastoreItem xmlns:ds="http://schemas.openxmlformats.org/officeDocument/2006/customXml" ds:itemID="{45165A18-E3FE-4150-836C-15BE760F5994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_PPT_Template</Template>
  <TotalTime>9261</TotalTime>
  <Words>1470</Words>
  <Application>Microsoft Office PowerPoint</Application>
  <PresentationFormat>Widescreen</PresentationFormat>
  <Paragraphs>141</Paragraphs>
  <Slides>1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ＭＳ Ｐゴシック</vt:lpstr>
      <vt:lpstr>Arial</vt:lpstr>
      <vt:lpstr>Calibri</vt:lpstr>
      <vt:lpstr>Libre Franklin</vt:lpstr>
      <vt:lpstr>Libre Franklin Light</vt:lpstr>
      <vt:lpstr>Libre Franklin Regular</vt:lpstr>
      <vt:lpstr>AE Theme 2018</vt:lpstr>
      <vt:lpstr>1_AE Theme 2018</vt:lpstr>
      <vt:lpstr>5-те Най-Важни Вътрешни фактори за класиране в Гугъл</vt:lpstr>
      <vt:lpstr>Contents</vt:lpstr>
      <vt:lpstr>Какво е СЕО</vt:lpstr>
      <vt:lpstr>Вие Виждате Това ↓                           Гугъл Вижда Това ↓</vt:lpstr>
      <vt:lpstr>On-Page Фактори/Вътрешно СЕО</vt:lpstr>
      <vt:lpstr>Вътрешно СЕО/On-Page SEO</vt:lpstr>
      <vt:lpstr>Етикет за Заглавие/Title Tag</vt:lpstr>
      <vt:lpstr>H1 Етикет/H1 Tag</vt:lpstr>
      <vt:lpstr>Paragraph Tags</vt:lpstr>
      <vt:lpstr>URL</vt:lpstr>
      <vt:lpstr>H2 Tags</vt:lpstr>
      <vt:lpstr>Бонус – Външно СЕО (Off-Page SEO) или Входящи Връзки (Backlinks)</vt:lpstr>
      <vt:lpstr>Backlinks (Links from 3rd Party Websites)</vt:lpstr>
      <vt:lpstr>Offer - $99 Technical SEO Audit</vt:lpstr>
      <vt:lpstr>Технически Одит на Сайта Ви - $99</vt:lpstr>
      <vt:lpstr>Въпроси?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ohanna</dc:creator>
  <cp:keywords/>
  <dc:description/>
  <cp:lastModifiedBy>Kalin Marinov</cp:lastModifiedBy>
  <cp:revision>947</cp:revision>
  <cp:lastPrinted>2018-10-03T15:23:29Z</cp:lastPrinted>
  <dcterms:created xsi:type="dcterms:W3CDTF">2018-02-27T21:32:26Z</dcterms:created>
  <dcterms:modified xsi:type="dcterms:W3CDTF">2023-09-19T20:23:1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86309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1</vt:lpwstr>
  </property>
  <property fmtid="{D5CDD505-2E9C-101B-9397-08002B2CF9AE}" pid="5" name="Tfs.IsStoryboard">
    <vt:bool>true</vt:bool>
  </property>
  <property fmtid="{D5CDD505-2E9C-101B-9397-08002B2CF9AE}" pid="6" name="Tfs.LastKnownPath">
    <vt:lpwstr>\\ae.local\fileshares\Departments\_Marketing\02 - Sales Support\PPTs\01 - Base PPT\AE_Base_Template_v1.1.pptx</vt:lpwstr>
  </property>
</Properties>
</file>